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6" r:id="rId2"/>
    <p:sldId id="269" r:id="rId3"/>
    <p:sldId id="258" r:id="rId4"/>
    <p:sldId id="270" r:id="rId5"/>
    <p:sldId id="261" r:id="rId6"/>
    <p:sldId id="271" r:id="rId7"/>
    <p:sldId id="272" r:id="rId8"/>
    <p:sldId id="273" r:id="rId9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3" autoAdjust="0"/>
    <p:restoredTop sz="96291" autoAdjust="0"/>
  </p:normalViewPr>
  <p:slideViewPr>
    <p:cSldViewPr snapToGrid="0">
      <p:cViewPr varScale="1">
        <p:scale>
          <a:sx n="122" d="100"/>
          <a:sy n="122" d="100"/>
        </p:scale>
        <p:origin x="240" y="30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6/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6/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EF182-2FCB-4867-99A2-224514D135E8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4698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82053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本素材由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提供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尊重知识产权并注重保护用户享有的各项权利。郑重提醒您：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中提供的任何信息内容的所有权、知识产权归其原始权利人或权利受让人所有，您免费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购买获得的是信息内容的使用权，并受下述条款的约束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您仅可以个人非商业用途使用该等信息内容，不可将信息内容的全部或部分用于出售，或以出租、出借、转让、分销、发布等其他任何方式供他人使用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禁止在接入互联网或移动互联网的任何网站、平台、应用或程序上以任何方式为他人提供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资源内容的下载。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resource is supplied by 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ects all intellectual property rights and protects all the rights its users acquired. Solemnly remind you: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ownership and intellectual property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belongs to its owner or the assignee of this ownership. you only acquired the usage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, as well as respected the following restrain terms: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You are only allowed to use such resource for personal and non-commercial aim, not allowed to use such resource or part of it for the sale; or rent, lend, transfer to others; or distribution or release it in any way.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You are not permitted to provide the resource of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in any website, platform, application access to the Internet or mobile Internet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865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îsḷíḓê">
            <a:extLst>
              <a:ext uri="{FF2B5EF4-FFF2-40B4-BE49-F238E27FC236}">
                <a16:creationId xmlns:a16="http://schemas.microsoft.com/office/drawing/2014/main" id="{42A8215B-EF04-43F6-B507-EECF4347F6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ïṩlîḓê">
            <a:extLst>
              <a:ext uri="{FF2B5EF4-FFF2-40B4-BE49-F238E27FC236}">
                <a16:creationId xmlns:a16="http://schemas.microsoft.com/office/drawing/2014/main" id="{266F4A5A-B6F8-4F3A-ACEC-5A8D8DAA1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69925" y="834029"/>
            <a:ext cx="10845800" cy="40640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4688" y="1130300"/>
            <a:ext cx="10845800" cy="284400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8" name="iṡļidê">
            <a:extLst>
              <a:ext uri="{FF2B5EF4-FFF2-40B4-BE49-F238E27FC236}">
                <a16:creationId xmlns:a16="http://schemas.microsoft.com/office/drawing/2014/main" id="{B3088AFB-A9BB-4BF3-BD15-29B47AF9128C}"/>
              </a:ext>
            </a:extLst>
          </p:cNvPr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îşľiḑé">
            <a:extLst>
              <a:ext uri="{FF2B5EF4-FFF2-40B4-BE49-F238E27FC236}">
                <a16:creationId xmlns:a16="http://schemas.microsoft.com/office/drawing/2014/main" id="{F646A996-7125-4BF6-85EB-4C708C92EB2B}"/>
              </a:ext>
            </a:extLst>
          </p:cNvPr>
          <p:cNvSpPr/>
          <p:nvPr userDrawn="1"/>
        </p:nvSpPr>
        <p:spPr>
          <a:xfrm>
            <a:off x="0" y="6134100"/>
            <a:ext cx="12192000" cy="723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ï$ľidé">
            <a:extLst>
              <a:ext uri="{FF2B5EF4-FFF2-40B4-BE49-F238E27FC236}">
                <a16:creationId xmlns:a16="http://schemas.microsoft.com/office/drawing/2014/main" id="{B7B43C01-6527-4F60-A682-120E43EFD8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íṩľïḓé">
            <a:extLst>
              <a:ext uri="{FF2B5EF4-FFF2-40B4-BE49-F238E27FC236}">
                <a16:creationId xmlns:a16="http://schemas.microsoft.com/office/drawing/2014/main" id="{12F92AF7-9EDC-4BB3-BE60-DA187B62B6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2">
                  <a:alpha val="50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094884" y="342900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096000" y="432435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iṩḻïḍè">
            <a:extLst>
              <a:ext uri="{FF2B5EF4-FFF2-40B4-BE49-F238E27FC236}">
                <a16:creationId xmlns:a16="http://schemas.microsoft.com/office/drawing/2014/main" id="{EBE1DE18-102A-479B-A9D2-1AD0B3465763}"/>
              </a:ext>
            </a:extLst>
          </p:cNvPr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íṣļïďè">
            <a:extLst>
              <a:ext uri="{FF2B5EF4-FFF2-40B4-BE49-F238E27FC236}">
                <a16:creationId xmlns:a16="http://schemas.microsoft.com/office/drawing/2014/main" id="{BB7EA242-68C3-423F-943B-1C682CC767BE}"/>
              </a:ext>
            </a:extLst>
          </p:cNvPr>
          <p:cNvSpPr/>
          <p:nvPr userDrawn="1"/>
        </p:nvSpPr>
        <p:spPr>
          <a:xfrm>
            <a:off x="0" y="6134100"/>
            <a:ext cx="12192000" cy="723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ṧḻîḓe">
            <a:extLst>
              <a:ext uri="{FF2B5EF4-FFF2-40B4-BE49-F238E27FC236}">
                <a16:creationId xmlns:a16="http://schemas.microsoft.com/office/drawing/2014/main" id="{685E58D1-47DE-439C-B864-4323FCE172B0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iṧliḍe">
            <a:extLst>
              <a:ext uri="{FF2B5EF4-FFF2-40B4-BE49-F238E27FC236}">
                <a16:creationId xmlns:a16="http://schemas.microsoft.com/office/drawing/2014/main" id="{DE29FC70-EB4A-4D76-B26D-D14C516154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7388" cy="3020248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69925" y="5823229"/>
            <a:ext cx="1085373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9927" y="5837829"/>
            <a:ext cx="1085373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8" name="işḷíďè">
            <a:extLst>
              <a:ext uri="{FF2B5EF4-FFF2-40B4-BE49-F238E27FC236}">
                <a16:creationId xmlns:a16="http://schemas.microsoft.com/office/drawing/2014/main" id="{409AE849-2833-434B-8D81-C9955B812DA1}"/>
              </a:ext>
            </a:extLst>
          </p:cNvPr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íṥḷiḑe">
            <a:extLst>
              <a:ext uri="{FF2B5EF4-FFF2-40B4-BE49-F238E27FC236}">
                <a16:creationId xmlns:a16="http://schemas.microsoft.com/office/drawing/2014/main" id="{12BC4DBC-971B-4C83-B9F0-09F80FBA25D0}"/>
              </a:ext>
            </a:extLst>
          </p:cNvPr>
          <p:cNvSpPr/>
          <p:nvPr userDrawn="1"/>
        </p:nvSpPr>
        <p:spPr>
          <a:xfrm>
            <a:off x="0" y="6134100"/>
            <a:ext cx="12192000" cy="723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hyperlink" Target="https://www.islide.cc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ṧľí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ślïdé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ïsļîde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şļiďè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şḷíḓé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altLang="zh-CN" sz="1200" spc="1800" dirty="0"/>
              <a:t>SUBTITLE HERE</a:t>
            </a:r>
          </a:p>
        </p:txBody>
      </p:sp>
      <p:sp>
        <p:nvSpPr>
          <p:cNvPr id="4" name="ïs1îḍé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4800" dirty="0"/>
              <a:t>ISLIDE</a:t>
            </a:r>
            <a:r>
              <a:rPr lang="en-US" altLang="zh-CN" sz="4800" baseline="30000" dirty="0"/>
              <a:t>®</a:t>
            </a:r>
            <a:r>
              <a:rPr lang="en-US" altLang="zh-CN" sz="4800" dirty="0"/>
              <a:t> POWERPOINT</a:t>
            </a:r>
            <a:br>
              <a:rPr lang="en-US" altLang="zh-CN" dirty="0"/>
            </a:br>
            <a:r>
              <a:rPr lang="en-US" altLang="zh-CN" dirty="0"/>
              <a:t> </a:t>
            </a:r>
            <a:r>
              <a:rPr lang="en-US" altLang="zh-CN" sz="1600" b="0" spc="1200" dirty="0"/>
              <a:t>STANDARD TEMPLATE</a:t>
            </a:r>
            <a:endParaRPr lang="zh-CN" altLang="en-US" b="0" spc="1200" dirty="0"/>
          </a:p>
        </p:txBody>
      </p:sp>
      <p:sp>
        <p:nvSpPr>
          <p:cNvPr id="6" name="ïṥ1iḑ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Speaker name and title</a:t>
            </a:r>
          </a:p>
        </p:txBody>
      </p:sp>
      <p:sp>
        <p:nvSpPr>
          <p:cNvPr id="7" name="íṥḻíḍe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şḷi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îṥḷïďê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iṩľî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î$ḷïďé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Subtitle Here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</p:txBody>
          </p:sp>
          <p:cxnSp>
            <p:nvCxnSpPr>
              <p:cNvPr id="8" name="i$ľiḑè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îSļîḓê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ïṣľïďê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şļiḓ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Section Header Here</a:t>
            </a:r>
            <a:endParaRPr lang="zh-CN" altLang="en-US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6" name="íş1iḋé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Supporting text here.</a:t>
            </a:r>
          </a:p>
          <a:p>
            <a:pPr lvl="0"/>
            <a:r>
              <a:rPr lang="en-US" altLang="zh-CN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When you copy &amp; paste, choose "keep text only" option.</a:t>
            </a:r>
            <a:endParaRPr lang="zh-CN" altLang="en-US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9" name="ïṩḻíḍê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897341" y="394225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>
                    <a:lumMod val="40000"/>
                    <a:lumOff val="6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2">
                  <a:lumMod val="40000"/>
                  <a:lumOff val="60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ḷî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šlïď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Use "Title Only" Layout</a:t>
            </a:r>
            <a:endParaRPr lang="zh-CN" altLang="en-US"/>
          </a:p>
        </p:txBody>
      </p:sp>
      <p:sp>
        <p:nvSpPr>
          <p:cNvPr id="3" name="ïšlidé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ṩlídé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12169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ŝľï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ṥļïďè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íṡlíḑê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ŝ1iḋ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ṧlíḑ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6600" dirty="0"/>
              <a:t>Thanks</a:t>
            </a:r>
            <a:br>
              <a:rPr lang="en-US" altLang="zh-CN" dirty="0"/>
            </a:br>
            <a:r>
              <a:rPr lang="en-US" altLang="zh-CN" sz="1600" b="0" spc="1200" dirty="0"/>
              <a:t>AND YOUR SLOGAN HERE</a:t>
            </a:r>
            <a:endParaRPr lang="zh-CN" altLang="en-US" b="0" spc="1200" dirty="0"/>
          </a:p>
        </p:txBody>
      </p:sp>
      <p:sp>
        <p:nvSpPr>
          <p:cNvPr id="7" name="îṧļiďê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en-US" altLang="en-US" dirty="0"/>
          </a:p>
        </p:txBody>
      </p:sp>
      <p:sp>
        <p:nvSpPr>
          <p:cNvPr id="6" name="ïŝḻîḓ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íSḻ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íṥḻíḑè"/>
          <p:cNvGrpSpPr/>
          <p:nvPr/>
        </p:nvGrpSpPr>
        <p:grpSpPr>
          <a:xfrm>
            <a:off x="1022809" y="2128458"/>
            <a:ext cx="4460537" cy="691252"/>
            <a:chOff x="1101012" y="2911151"/>
            <a:chExt cx="9573211" cy="1483567"/>
          </a:xfrm>
        </p:grpSpPr>
        <p:sp>
          <p:nvSpPr>
            <p:cNvPr id="2" name="îŝľiḑe"/>
            <p:cNvSpPr/>
            <p:nvPr/>
          </p:nvSpPr>
          <p:spPr>
            <a:xfrm>
              <a:off x="5551715" y="3069771"/>
              <a:ext cx="643813" cy="64381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iṣ1îḋe"/>
            <p:cNvSpPr/>
            <p:nvPr/>
          </p:nvSpPr>
          <p:spPr>
            <a:xfrm>
              <a:off x="6447454" y="3069771"/>
              <a:ext cx="643813" cy="6438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îṡľíḍê"/>
            <p:cNvSpPr/>
            <p:nvPr/>
          </p:nvSpPr>
          <p:spPr>
            <a:xfrm>
              <a:off x="7343193" y="3069771"/>
              <a:ext cx="643813" cy="6438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ïsḻïḑè"/>
            <p:cNvSpPr/>
            <p:nvPr/>
          </p:nvSpPr>
          <p:spPr>
            <a:xfrm>
              <a:off x="8238932" y="3069771"/>
              <a:ext cx="643813" cy="64381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íṡ1îdê"/>
            <p:cNvSpPr/>
            <p:nvPr/>
          </p:nvSpPr>
          <p:spPr>
            <a:xfrm>
              <a:off x="9134671" y="3069771"/>
              <a:ext cx="643813" cy="64381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ï$1iḍè"/>
            <p:cNvSpPr/>
            <p:nvPr/>
          </p:nvSpPr>
          <p:spPr>
            <a:xfrm>
              <a:off x="10030410" y="3069771"/>
              <a:ext cx="643813" cy="64381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îŝlïḍe"/>
            <p:cNvSpPr/>
            <p:nvPr/>
          </p:nvSpPr>
          <p:spPr>
            <a:xfrm>
              <a:off x="1101012" y="3069771"/>
              <a:ext cx="643813" cy="64381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íṧḷîḋè"/>
            <p:cNvSpPr/>
            <p:nvPr/>
          </p:nvSpPr>
          <p:spPr>
            <a:xfrm>
              <a:off x="1996751" y="3069771"/>
              <a:ext cx="643813" cy="64381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íSliḍé"/>
            <p:cNvSpPr/>
            <p:nvPr/>
          </p:nvSpPr>
          <p:spPr>
            <a:xfrm>
              <a:off x="2892490" y="3069771"/>
              <a:ext cx="643813" cy="6438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íš1iḓe"/>
            <p:cNvSpPr/>
            <p:nvPr/>
          </p:nvSpPr>
          <p:spPr>
            <a:xfrm>
              <a:off x="3788229" y="3069771"/>
              <a:ext cx="643813" cy="6438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" name="iŝļiḓe"/>
            <p:cNvCxnSpPr/>
            <p:nvPr/>
          </p:nvCxnSpPr>
          <p:spPr>
            <a:xfrm>
              <a:off x="4982546" y="2911151"/>
              <a:ext cx="0" cy="148356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iṥ1iḑé"/>
          <p:cNvSpPr txBox="1"/>
          <p:nvPr/>
        </p:nvSpPr>
        <p:spPr>
          <a:xfrm>
            <a:off x="669927" y="1512847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色彩 </a:t>
            </a:r>
            <a:r>
              <a:rPr lang="en-US" altLang="zh-CN" sz="1600" dirty="0"/>
              <a:t>THEME COLORS</a:t>
            </a:r>
            <a:endParaRPr lang="zh-CN" altLang="en-US" sz="1600" dirty="0"/>
          </a:p>
        </p:txBody>
      </p:sp>
      <p:cxnSp>
        <p:nvCxnSpPr>
          <p:cNvPr id="20" name="îsļîḑê"/>
          <p:cNvCxnSpPr/>
          <p:nvPr/>
        </p:nvCxnSpPr>
        <p:spPr>
          <a:xfrm>
            <a:off x="669926" y="1843079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îŝ1îde"/>
          <p:cNvSpPr txBox="1"/>
          <p:nvPr/>
        </p:nvSpPr>
        <p:spPr>
          <a:xfrm>
            <a:off x="669927" y="2689502"/>
            <a:ext cx="2161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文字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背景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Text/Background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ïŝḻîḓè"/>
          <p:cNvSpPr txBox="1"/>
          <p:nvPr/>
        </p:nvSpPr>
        <p:spPr>
          <a:xfrm>
            <a:off x="2841869" y="2689502"/>
            <a:ext cx="28766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填充色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ccents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iṥ1iḓê"/>
          <p:cNvSpPr txBox="1"/>
          <p:nvPr/>
        </p:nvSpPr>
        <p:spPr>
          <a:xfrm>
            <a:off x="669927" y="3943131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字体 </a:t>
            </a:r>
            <a:r>
              <a:rPr lang="en-US" altLang="zh-CN" sz="1600" dirty="0"/>
              <a:t>THEME FONTS</a:t>
            </a:r>
            <a:endParaRPr lang="zh-CN" altLang="en-US" sz="1600" dirty="0"/>
          </a:p>
        </p:txBody>
      </p:sp>
      <p:cxnSp>
        <p:nvCxnSpPr>
          <p:cNvPr id="26" name="îs1îḑé"/>
          <p:cNvCxnSpPr/>
          <p:nvPr/>
        </p:nvCxnSpPr>
        <p:spPr>
          <a:xfrm>
            <a:off x="669926" y="4273363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í$ľîḑe"/>
          <p:cNvSpPr/>
          <p:nvPr/>
        </p:nvSpPr>
        <p:spPr>
          <a:xfrm>
            <a:off x="669928" y="4407101"/>
            <a:ext cx="5048569" cy="834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中文字体：微软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雅黑 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sian Font: Microsoft Yahei</a:t>
            </a:r>
          </a:p>
          <a:p>
            <a:endParaRPr lang="en-US" altLang="zh-CN" sz="12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英文字体：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rial  Lation Font: Arial</a:t>
            </a:r>
            <a:endParaRPr lang="zh-CN" altLang="en-U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ïŝľíḑe"/>
          <p:cNvSpPr txBox="1"/>
          <p:nvPr/>
        </p:nvSpPr>
        <p:spPr>
          <a:xfrm>
            <a:off x="7070727" y="1512847"/>
            <a:ext cx="44497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预设参考线（</a:t>
            </a:r>
            <a:r>
              <a:rPr lang="en-US" altLang="zh-CN" sz="1600" dirty="0"/>
              <a:t>2013</a:t>
            </a:r>
            <a:r>
              <a:rPr lang="zh-CN" altLang="en-US" sz="1600" dirty="0"/>
              <a:t>版本及以上）</a:t>
            </a:r>
            <a:r>
              <a:rPr lang="en-US" altLang="zh-CN" sz="1600" dirty="0"/>
              <a:t> GUIDES</a:t>
            </a:r>
            <a:endParaRPr lang="zh-CN" altLang="en-US" sz="1600" dirty="0"/>
          </a:p>
        </p:txBody>
      </p:sp>
      <p:cxnSp>
        <p:nvCxnSpPr>
          <p:cNvPr id="33" name="iṡļîḍe"/>
          <p:cNvCxnSpPr/>
          <p:nvPr/>
        </p:nvCxnSpPr>
        <p:spPr>
          <a:xfrm>
            <a:off x="7070725" y="1843079"/>
            <a:ext cx="44497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iṥḷîďe"/>
          <p:cNvGrpSpPr/>
          <p:nvPr/>
        </p:nvGrpSpPr>
        <p:grpSpPr>
          <a:xfrm>
            <a:off x="6979298" y="2204128"/>
            <a:ext cx="4541191" cy="3084493"/>
            <a:chOff x="6979298" y="2204127"/>
            <a:chExt cx="4541190" cy="3084493"/>
          </a:xfrm>
        </p:grpSpPr>
        <p:sp>
          <p:nvSpPr>
            <p:cNvPr id="35" name="îṣľïdè"/>
            <p:cNvSpPr/>
            <p:nvPr/>
          </p:nvSpPr>
          <p:spPr>
            <a:xfrm>
              <a:off x="7070725" y="2240059"/>
              <a:ext cx="4449762" cy="250299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37" name="ïṧ1íḍê"/>
            <p:cNvCxnSpPr/>
            <p:nvPr/>
          </p:nvCxnSpPr>
          <p:spPr>
            <a:xfrm>
              <a:off x="7333861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î$lîḑê"/>
            <p:cNvCxnSpPr/>
            <p:nvPr/>
          </p:nvCxnSpPr>
          <p:spPr>
            <a:xfrm>
              <a:off x="11280709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išḻiďè"/>
            <p:cNvCxnSpPr/>
            <p:nvPr/>
          </p:nvCxnSpPr>
          <p:spPr>
            <a:xfrm>
              <a:off x="6979298" y="2667246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iSḷïḍe"/>
            <p:cNvCxnSpPr/>
            <p:nvPr/>
          </p:nvCxnSpPr>
          <p:spPr>
            <a:xfrm>
              <a:off x="6979298" y="2746562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ïṧlíďê"/>
            <p:cNvCxnSpPr/>
            <p:nvPr/>
          </p:nvCxnSpPr>
          <p:spPr>
            <a:xfrm>
              <a:off x="6979298" y="4443008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ïsļïḑé"/>
            <p:cNvCxnSpPr/>
            <p:nvPr/>
          </p:nvCxnSpPr>
          <p:spPr>
            <a:xfrm>
              <a:off x="6979298" y="4517653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ïŝ1îďe"/>
            <p:cNvCxnSpPr/>
            <p:nvPr/>
          </p:nvCxnSpPr>
          <p:spPr>
            <a:xfrm>
              <a:off x="7333860" y="2741891"/>
              <a:ext cx="3946848" cy="170111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ïṣḻïḍe"/>
            <p:cNvSpPr/>
            <p:nvPr/>
          </p:nvSpPr>
          <p:spPr>
            <a:xfrm>
              <a:off x="7070725" y="4822365"/>
              <a:ext cx="4449763" cy="4662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LT+F9 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开启和查看本主题预设的</a:t>
              </a:r>
              <a:r>
                <a:rPr lang="zh-CN" altLang="en-US" sz="11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参考线</a:t>
              </a:r>
              <a:endParaRPr lang="en-US" altLang="zh-CN" sz="11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Use Alt + F9 to</a:t>
              </a:r>
              <a:r>
                <a:rPr lang="zh-CN" altLang="en-US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isplay/hidden guides.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endParaRPr lang="zh-CN" altLang="en-US" sz="1100" dirty="0">
                <a:solidFill>
                  <a:srgbClr val="CC4A4A"/>
                </a:solidFill>
              </a:endParaRPr>
            </a:p>
          </p:txBody>
        </p:sp>
      </p:grpSp>
      <p:sp>
        <p:nvSpPr>
          <p:cNvPr id="39" name="iṣḷiḓe"/>
          <p:cNvSpPr txBox="1"/>
          <p:nvPr/>
        </p:nvSpPr>
        <p:spPr>
          <a:xfrm>
            <a:off x="669927" y="3104921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通过</a:t>
            </a:r>
            <a:r>
              <a:rPr lang="en-US" altLang="zh-CN" sz="1000" dirty="0">
                <a:solidFill>
                  <a:srgbClr val="CC4A4A"/>
                </a:solidFill>
              </a:rPr>
              <a:t>iSlide 【</a:t>
            </a:r>
            <a:r>
              <a:rPr lang="zh-CN" altLang="en-US" sz="1000" dirty="0">
                <a:solidFill>
                  <a:srgbClr val="CC4A4A"/>
                </a:solidFill>
              </a:rPr>
              <a:t>色彩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，快速应用</a:t>
            </a:r>
            <a:r>
              <a:rPr lang="zh-CN" altLang="en-US" sz="1000">
                <a:solidFill>
                  <a:srgbClr val="CC4A4A"/>
                </a:solidFill>
              </a:rPr>
              <a:t>更多色彩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Color Library to apply theme colors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4" name="îṧľïḑé"/>
          <p:cNvSpPr txBox="1"/>
          <p:nvPr/>
        </p:nvSpPr>
        <p:spPr>
          <a:xfrm>
            <a:off x="669927" y="5304239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在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设计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菜单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中改变，或应用</a:t>
            </a:r>
            <a:r>
              <a:rPr lang="en-US" altLang="zh-CN" sz="1000" dirty="0">
                <a:solidFill>
                  <a:srgbClr val="CC4A4A"/>
                </a:solidFill>
              </a:rPr>
              <a:t>iSlide【</a:t>
            </a:r>
            <a:r>
              <a:rPr lang="zh-CN" altLang="en-US" sz="1000" dirty="0">
                <a:solidFill>
                  <a:srgbClr val="CC4A4A"/>
                </a:solidFill>
              </a:rPr>
              <a:t>统一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</a:t>
            </a:r>
            <a:r>
              <a:rPr lang="zh-CN" altLang="en-US" sz="1000">
                <a:solidFill>
                  <a:srgbClr val="CC4A4A"/>
                </a:solidFill>
              </a:rPr>
              <a:t>改变设置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Design, Variants, Fonts to change theme fonts, or just use Uniform Fonts in</a:t>
            </a:r>
            <a:r>
              <a:rPr lang="zh-CN" altLang="en-US" sz="1000">
                <a:solidFill>
                  <a:srgbClr val="CC4A4A"/>
                </a:solidFill>
              </a:rPr>
              <a:t> </a:t>
            </a:r>
            <a:r>
              <a:rPr lang="en-US" altLang="zh-CN" sz="1000">
                <a:solidFill>
                  <a:srgbClr val="CC4A4A"/>
                </a:solidFill>
              </a:rPr>
              <a:t>iSlide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5" name="îṩlíḓé">
            <a:extLst>
              <a:ext uri="{FF2B5EF4-FFF2-40B4-BE49-F238E27FC236}">
                <a16:creationId xmlns:a16="http://schemas.microsoft.com/office/drawing/2014/main" id="{7F5B46B9-6DA9-43A1-B6EB-AFAA02758115}"/>
              </a:ext>
            </a:extLst>
          </p:cNvPr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sp>
        <p:nvSpPr>
          <p:cNvPr id="6" name="íslíde">
            <a:extLst>
              <a:ext uri="{FF2B5EF4-FFF2-40B4-BE49-F238E27FC236}">
                <a16:creationId xmlns:a16="http://schemas.microsoft.com/office/drawing/2014/main" id="{821214C4-3D8B-473D-9D9C-F2F23FBFB600}"/>
              </a:ext>
            </a:extLst>
          </p:cNvPr>
          <p:cNvSpPr/>
          <p:nvPr/>
        </p:nvSpPr>
        <p:spPr>
          <a:xfrm>
            <a:off x="7070726" y="5304238"/>
            <a:ext cx="4301177" cy="400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000">
                <a:solidFill>
                  <a:srgbClr val="CC4A4A"/>
                </a:solidFill>
              </a:rPr>
              <a:t>*可以通过</a:t>
            </a:r>
            <a:r>
              <a:rPr lang="en-US" altLang="zh-CN" sz="1000">
                <a:solidFill>
                  <a:srgbClr val="CC4A4A"/>
                </a:solidFill>
              </a:rPr>
              <a:t>iSlide 【</a:t>
            </a:r>
            <a:r>
              <a:rPr lang="zh-CN" altLang="en-US" sz="1000">
                <a:solidFill>
                  <a:srgbClr val="CC4A4A"/>
                </a:solidFill>
              </a:rPr>
              <a:t>一键优化</a:t>
            </a:r>
            <a:r>
              <a:rPr lang="en-US" altLang="zh-CN" sz="1000">
                <a:solidFill>
                  <a:srgbClr val="CC4A4A"/>
                </a:solidFill>
              </a:rPr>
              <a:t>】</a:t>
            </a:r>
            <a:r>
              <a:rPr lang="zh-CN" altLang="en-US" sz="1000">
                <a:solidFill>
                  <a:srgbClr val="CC4A4A"/>
                </a:solidFill>
              </a:rPr>
              <a:t>（智能参考线）功能，应用更多预设参考线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Uniform Guides in iSlide to apply guides with presets.</a:t>
            </a:r>
          </a:p>
        </p:txBody>
      </p:sp>
      <p:sp>
        <p:nvSpPr>
          <p:cNvPr id="48" name="íṩlîdê">
            <a:extLst>
              <a:ext uri="{FF2B5EF4-FFF2-40B4-BE49-F238E27FC236}">
                <a16:creationId xmlns:a16="http://schemas.microsoft.com/office/drawing/2014/main" id="{A063C456-63D9-49D6-A680-AB5AA5CB4C15}"/>
              </a:ext>
            </a:extLst>
          </p:cNvPr>
          <p:cNvSpPr txBox="1">
            <a:spLocks/>
          </p:cNvSpPr>
          <p:nvPr/>
        </p:nvSpPr>
        <p:spPr>
          <a:xfrm>
            <a:off x="695323" y="4046"/>
            <a:ext cx="10825164" cy="101335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32"/>
            <a:r>
              <a:rPr lang="zh-CN" altLang="en-US" sz="2800" b="1"/>
              <a:t>主题模板的标准 </a:t>
            </a:r>
            <a:r>
              <a:rPr lang="en-US" altLang="zh-CN" sz="2800" b="1"/>
              <a:t>How to use this template</a:t>
            </a:r>
            <a:endParaRPr lang="zh-CN" altLang="en-US" sz="2800" b="1" dirty="0"/>
          </a:p>
        </p:txBody>
      </p:sp>
      <p:sp>
        <p:nvSpPr>
          <p:cNvPr id="49" name="iSľidè">
            <a:extLst>
              <a:ext uri="{FF2B5EF4-FFF2-40B4-BE49-F238E27FC236}">
                <a16:creationId xmlns:a16="http://schemas.microsoft.com/office/drawing/2014/main" id="{70537D41-1690-44B4-875B-3E6C18A46109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57789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iṧľí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" name="íşlídè"/>
          <p:cNvGrpSpPr/>
          <p:nvPr/>
        </p:nvGrpSpPr>
        <p:grpSpPr>
          <a:xfrm>
            <a:off x="4493792" y="1784983"/>
            <a:ext cx="6642649" cy="4206632"/>
            <a:chOff x="1223445" y="1639500"/>
            <a:chExt cx="6714551" cy="4252167"/>
          </a:xfrm>
        </p:grpSpPr>
        <p:grpSp>
          <p:nvGrpSpPr>
            <p:cNvPr id="306" name="ïṥḻíḍè"/>
            <p:cNvGrpSpPr>
              <a:grpSpLocks noChangeAspect="1"/>
            </p:cNvGrpSpPr>
            <p:nvPr/>
          </p:nvGrpSpPr>
          <p:grpSpPr bwMode="auto">
            <a:xfrm>
              <a:off x="1223445" y="1639500"/>
              <a:ext cx="6714551" cy="4252167"/>
              <a:chOff x="442" y="1130"/>
              <a:chExt cx="4123" cy="2611"/>
            </a:xfrm>
          </p:grpSpPr>
          <p:sp>
            <p:nvSpPr>
              <p:cNvPr id="308" name="ïšļíḓè"/>
              <p:cNvSpPr>
                <a:spLocks/>
              </p:cNvSpPr>
              <p:nvPr/>
            </p:nvSpPr>
            <p:spPr bwMode="auto">
              <a:xfrm>
                <a:off x="454" y="1141"/>
                <a:ext cx="4099" cy="25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9" name="ïšḷîḓè"/>
              <p:cNvSpPr>
                <a:spLocks/>
              </p:cNvSpPr>
              <p:nvPr/>
            </p:nvSpPr>
            <p:spPr bwMode="auto">
              <a:xfrm>
                <a:off x="442" y="1130"/>
                <a:ext cx="4123" cy="261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EAECE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0" name="iṡlïdê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1" name="išḷîďe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2" name="išlïḓé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solidFill>
                <a:srgbClr val="CC4A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3" name="ïšļiḍè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4" name="ïṧ1iḑé"/>
              <p:cNvSpPr>
                <a:spLocks noChangeArrowheads="1"/>
              </p:cNvSpPr>
              <p:nvPr/>
            </p:nvSpPr>
            <p:spPr bwMode="auto">
              <a:xfrm>
                <a:off x="585" y="1907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5" name="ïŝ1îḋé"/>
              <p:cNvSpPr>
                <a:spLocks noChangeArrowheads="1"/>
              </p:cNvSpPr>
              <p:nvPr/>
            </p:nvSpPr>
            <p:spPr bwMode="auto">
              <a:xfrm>
                <a:off x="585" y="2512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6" name="işļïḋé"/>
              <p:cNvSpPr>
                <a:spLocks noChangeArrowheads="1"/>
              </p:cNvSpPr>
              <p:nvPr/>
            </p:nvSpPr>
            <p:spPr bwMode="auto">
              <a:xfrm>
                <a:off x="585" y="3116"/>
                <a:ext cx="666" cy="503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7" name="îśḻíḍê"/>
              <p:cNvSpPr>
                <a:spLocks noChangeArrowheads="1"/>
              </p:cNvSpPr>
              <p:nvPr/>
            </p:nvSpPr>
            <p:spPr bwMode="auto">
              <a:xfrm>
                <a:off x="961" y="1268"/>
                <a:ext cx="62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8" name="is1iḓê"/>
              <p:cNvSpPr>
                <a:spLocks noChangeArrowheads="1"/>
              </p:cNvSpPr>
              <p:nvPr/>
            </p:nvSpPr>
            <p:spPr bwMode="auto">
              <a:xfrm>
                <a:off x="1070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9" name="ïs1ïdè"/>
              <p:cNvSpPr>
                <a:spLocks noChangeArrowheads="1"/>
              </p:cNvSpPr>
              <p:nvPr/>
            </p:nvSpPr>
            <p:spPr bwMode="auto">
              <a:xfrm>
                <a:off x="1179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0" name="ïSliḑe"/>
              <p:cNvSpPr>
                <a:spLocks noEditPoints="1"/>
              </p:cNvSpPr>
              <p:nvPr/>
            </p:nvSpPr>
            <p:spPr bwMode="auto">
              <a:xfrm>
                <a:off x="1428" y="1909"/>
                <a:ext cx="3001" cy="1721"/>
              </a:xfrm>
              <a:custGeom>
                <a:avLst/>
                <a:gdLst>
                  <a:gd name="T0" fmla="*/ 81 w 3119"/>
                  <a:gd name="T1" fmla="*/ 1764 h 1788"/>
                  <a:gd name="T2" fmla="*/ 41 w 3119"/>
                  <a:gd name="T3" fmla="*/ 1747 h 1788"/>
                  <a:gd name="T4" fmla="*/ 24 w 3119"/>
                  <a:gd name="T5" fmla="*/ 1706 h 1788"/>
                  <a:gd name="T6" fmla="*/ 24 w 3119"/>
                  <a:gd name="T7" fmla="*/ 81 h 1788"/>
                  <a:gd name="T8" fmla="*/ 41 w 3119"/>
                  <a:gd name="T9" fmla="*/ 41 h 1788"/>
                  <a:gd name="T10" fmla="*/ 81 w 3119"/>
                  <a:gd name="T11" fmla="*/ 24 h 1788"/>
                  <a:gd name="T12" fmla="*/ 3037 w 3119"/>
                  <a:gd name="T13" fmla="*/ 24 h 1788"/>
                  <a:gd name="T14" fmla="*/ 3078 w 3119"/>
                  <a:gd name="T15" fmla="*/ 41 h 1788"/>
                  <a:gd name="T16" fmla="*/ 3095 w 3119"/>
                  <a:gd name="T17" fmla="*/ 81 h 1788"/>
                  <a:gd name="T18" fmla="*/ 3095 w 3119"/>
                  <a:gd name="T19" fmla="*/ 1706 h 1788"/>
                  <a:gd name="T20" fmla="*/ 3078 w 3119"/>
                  <a:gd name="T21" fmla="*/ 1747 h 1788"/>
                  <a:gd name="T22" fmla="*/ 3037 w 3119"/>
                  <a:gd name="T23" fmla="*/ 1764 h 1788"/>
                  <a:gd name="T24" fmla="*/ 3037 w 3119"/>
                  <a:gd name="T25" fmla="*/ 1764 h 1788"/>
                  <a:gd name="T26" fmla="*/ 81 w 3119"/>
                  <a:gd name="T27" fmla="*/ 1764 h 1788"/>
                  <a:gd name="T28" fmla="*/ 3037 w 3119"/>
                  <a:gd name="T29" fmla="*/ 0 h 1788"/>
                  <a:gd name="T30" fmla="*/ 3037 w 3119"/>
                  <a:gd name="T31" fmla="*/ 0 h 1788"/>
                  <a:gd name="T32" fmla="*/ 81 w 3119"/>
                  <a:gd name="T33" fmla="*/ 0 h 1788"/>
                  <a:gd name="T34" fmla="*/ 24 w 3119"/>
                  <a:gd name="T35" fmla="*/ 24 h 1788"/>
                  <a:gd name="T36" fmla="*/ 0 w 3119"/>
                  <a:gd name="T37" fmla="*/ 81 h 1788"/>
                  <a:gd name="T38" fmla="*/ 0 w 3119"/>
                  <a:gd name="T39" fmla="*/ 1706 h 1788"/>
                  <a:gd name="T40" fmla="*/ 24 w 3119"/>
                  <a:gd name="T41" fmla="*/ 1764 h 1788"/>
                  <a:gd name="T42" fmla="*/ 81 w 3119"/>
                  <a:gd name="T43" fmla="*/ 1788 h 1788"/>
                  <a:gd name="T44" fmla="*/ 81 w 3119"/>
                  <a:gd name="T45" fmla="*/ 1788 h 1788"/>
                  <a:gd name="T46" fmla="*/ 3037 w 3119"/>
                  <a:gd name="T47" fmla="*/ 1788 h 1788"/>
                  <a:gd name="T48" fmla="*/ 3095 w 3119"/>
                  <a:gd name="T49" fmla="*/ 1764 h 1788"/>
                  <a:gd name="T50" fmla="*/ 3119 w 3119"/>
                  <a:gd name="T51" fmla="*/ 1706 h 1788"/>
                  <a:gd name="T52" fmla="*/ 3119 w 3119"/>
                  <a:gd name="T53" fmla="*/ 81 h 1788"/>
                  <a:gd name="T54" fmla="*/ 3095 w 3119"/>
                  <a:gd name="T55" fmla="*/ 24 h 1788"/>
                  <a:gd name="T56" fmla="*/ 3037 w 3119"/>
                  <a:gd name="T57" fmla="*/ 0 h 1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119" h="1788">
                    <a:moveTo>
                      <a:pt x="81" y="1764"/>
                    </a:moveTo>
                    <a:cubicBezTo>
                      <a:pt x="65" y="1764"/>
                      <a:pt x="51" y="1757"/>
                      <a:pt x="41" y="1747"/>
                    </a:cubicBezTo>
                    <a:cubicBezTo>
                      <a:pt x="30" y="1737"/>
                      <a:pt x="24" y="1722"/>
                      <a:pt x="24" y="1706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66"/>
                      <a:pt x="30" y="51"/>
                      <a:pt x="41" y="41"/>
                    </a:cubicBezTo>
                    <a:cubicBezTo>
                      <a:pt x="51" y="30"/>
                      <a:pt x="65" y="24"/>
                      <a:pt x="81" y="24"/>
                    </a:cubicBezTo>
                    <a:cubicBezTo>
                      <a:pt x="3037" y="24"/>
                      <a:pt x="3037" y="24"/>
                      <a:pt x="3037" y="24"/>
                    </a:cubicBezTo>
                    <a:cubicBezTo>
                      <a:pt x="3053" y="24"/>
                      <a:pt x="3068" y="30"/>
                      <a:pt x="3078" y="41"/>
                    </a:cubicBezTo>
                    <a:cubicBezTo>
                      <a:pt x="3089" y="51"/>
                      <a:pt x="3095" y="66"/>
                      <a:pt x="3095" y="81"/>
                    </a:cubicBezTo>
                    <a:cubicBezTo>
                      <a:pt x="3095" y="1706"/>
                      <a:pt x="3095" y="1706"/>
                      <a:pt x="3095" y="1706"/>
                    </a:cubicBezTo>
                    <a:cubicBezTo>
                      <a:pt x="3095" y="1722"/>
                      <a:pt x="3089" y="1737"/>
                      <a:pt x="3078" y="1747"/>
                    </a:cubicBezTo>
                    <a:cubicBezTo>
                      <a:pt x="3068" y="1757"/>
                      <a:pt x="3053" y="1764"/>
                      <a:pt x="3037" y="1764"/>
                    </a:cubicBezTo>
                    <a:cubicBezTo>
                      <a:pt x="3037" y="1764"/>
                      <a:pt x="3037" y="1764"/>
                      <a:pt x="3037" y="1764"/>
                    </a:cubicBezTo>
                    <a:cubicBezTo>
                      <a:pt x="81" y="1764"/>
                      <a:pt x="81" y="1764"/>
                      <a:pt x="81" y="1764"/>
                    </a:cubicBezTo>
                    <a:moveTo>
                      <a:pt x="3037" y="0"/>
                    </a:moveTo>
                    <a:cubicBezTo>
                      <a:pt x="3037" y="0"/>
                      <a:pt x="3037" y="0"/>
                      <a:pt x="3037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59" y="0"/>
                      <a:pt x="38" y="9"/>
                      <a:pt x="24" y="24"/>
                    </a:cubicBezTo>
                    <a:cubicBezTo>
                      <a:pt x="9" y="39"/>
                      <a:pt x="0" y="59"/>
                      <a:pt x="0" y="81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729"/>
                      <a:pt x="9" y="1749"/>
                      <a:pt x="24" y="1764"/>
                    </a:cubicBezTo>
                    <a:cubicBezTo>
                      <a:pt x="38" y="1779"/>
                      <a:pt x="59" y="1788"/>
                      <a:pt x="81" y="1788"/>
                    </a:cubicBezTo>
                    <a:cubicBezTo>
                      <a:pt x="81" y="1788"/>
                      <a:pt x="81" y="1788"/>
                      <a:pt x="81" y="1788"/>
                    </a:cubicBezTo>
                    <a:cubicBezTo>
                      <a:pt x="3037" y="1788"/>
                      <a:pt x="3037" y="1788"/>
                      <a:pt x="3037" y="1788"/>
                    </a:cubicBezTo>
                    <a:cubicBezTo>
                      <a:pt x="3060" y="1788"/>
                      <a:pt x="3080" y="1779"/>
                      <a:pt x="3095" y="1764"/>
                    </a:cubicBezTo>
                    <a:cubicBezTo>
                      <a:pt x="3110" y="1749"/>
                      <a:pt x="3119" y="1729"/>
                      <a:pt x="3119" y="1706"/>
                    </a:cubicBezTo>
                    <a:cubicBezTo>
                      <a:pt x="3119" y="81"/>
                      <a:pt x="3119" y="81"/>
                      <a:pt x="3119" y="81"/>
                    </a:cubicBezTo>
                    <a:cubicBezTo>
                      <a:pt x="3119" y="59"/>
                      <a:pt x="3110" y="39"/>
                      <a:pt x="3095" y="24"/>
                    </a:cubicBezTo>
                    <a:cubicBezTo>
                      <a:pt x="3080" y="9"/>
                      <a:pt x="3060" y="0"/>
                      <a:pt x="3037" y="0"/>
                    </a:cubicBezTo>
                  </a:path>
                </a:pathLst>
              </a:custGeom>
              <a:solidFill>
                <a:srgbClr val="F6F7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1" name="iśḷîḓê"/>
              <p:cNvSpPr>
                <a:spLocks/>
              </p:cNvSpPr>
              <p:nvPr/>
            </p:nvSpPr>
            <p:spPr bwMode="auto">
              <a:xfrm>
                <a:off x="1423" y="1431"/>
                <a:ext cx="526" cy="163"/>
              </a:xfrm>
              <a:custGeom>
                <a:avLst/>
                <a:gdLst>
                  <a:gd name="T0" fmla="*/ 520 w 547"/>
                  <a:gd name="T1" fmla="*/ 170 h 170"/>
                  <a:gd name="T2" fmla="*/ 27 w 547"/>
                  <a:gd name="T3" fmla="*/ 170 h 170"/>
                  <a:gd name="T4" fmla="*/ 0 w 547"/>
                  <a:gd name="T5" fmla="*/ 143 h 170"/>
                  <a:gd name="T6" fmla="*/ 0 w 547"/>
                  <a:gd name="T7" fmla="*/ 27 h 170"/>
                  <a:gd name="T8" fmla="*/ 27 w 547"/>
                  <a:gd name="T9" fmla="*/ 0 h 170"/>
                  <a:gd name="T10" fmla="*/ 520 w 547"/>
                  <a:gd name="T11" fmla="*/ 0 h 170"/>
                  <a:gd name="T12" fmla="*/ 547 w 547"/>
                  <a:gd name="T13" fmla="*/ 27 h 170"/>
                  <a:gd name="T14" fmla="*/ 547 w 547"/>
                  <a:gd name="T15" fmla="*/ 143 h 170"/>
                  <a:gd name="T16" fmla="*/ 520 w 547"/>
                  <a:gd name="T17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7" h="170">
                    <a:moveTo>
                      <a:pt x="520" y="170"/>
                    </a:moveTo>
                    <a:cubicBezTo>
                      <a:pt x="27" y="170"/>
                      <a:pt x="27" y="170"/>
                      <a:pt x="27" y="170"/>
                    </a:cubicBezTo>
                    <a:cubicBezTo>
                      <a:pt x="12" y="170"/>
                      <a:pt x="0" y="158"/>
                      <a:pt x="0" y="14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520" y="0"/>
                      <a:pt x="520" y="0"/>
                      <a:pt x="520" y="0"/>
                    </a:cubicBezTo>
                    <a:cubicBezTo>
                      <a:pt x="535" y="0"/>
                      <a:pt x="547" y="12"/>
                      <a:pt x="547" y="27"/>
                    </a:cubicBezTo>
                    <a:cubicBezTo>
                      <a:pt x="547" y="143"/>
                      <a:pt x="547" y="143"/>
                      <a:pt x="547" y="143"/>
                    </a:cubicBezTo>
                    <a:cubicBezTo>
                      <a:pt x="547" y="158"/>
                      <a:pt x="535" y="170"/>
                      <a:pt x="520" y="170"/>
                    </a:cubicBezTo>
                    <a:close/>
                  </a:path>
                </a:pathLst>
              </a:cu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2" name="išḷïḑe"/>
              <p:cNvSpPr>
                <a:spLocks noChangeArrowheads="1"/>
              </p:cNvSpPr>
              <p:nvPr/>
            </p:nvSpPr>
            <p:spPr bwMode="auto">
              <a:xfrm>
                <a:off x="1550" y="1490"/>
                <a:ext cx="254" cy="25"/>
              </a:xfrm>
              <a:prstGeom prst="rect">
                <a:avLst/>
              </a:prstGeom>
              <a:solidFill>
                <a:srgbClr val="C4C4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3" name="íṩlidè"/>
              <p:cNvSpPr>
                <a:spLocks/>
              </p:cNvSpPr>
              <p:nvPr/>
            </p:nvSpPr>
            <p:spPr bwMode="auto">
              <a:xfrm>
                <a:off x="928" y="1474"/>
                <a:ext cx="242" cy="49"/>
              </a:xfrm>
              <a:custGeom>
                <a:avLst/>
                <a:gdLst>
                  <a:gd name="T0" fmla="*/ 227 w 251"/>
                  <a:gd name="T1" fmla="*/ 0 h 51"/>
                  <a:gd name="T2" fmla="*/ 24 w 251"/>
                  <a:gd name="T3" fmla="*/ 0 h 51"/>
                  <a:gd name="T4" fmla="*/ 0 w 251"/>
                  <a:gd name="T5" fmla="*/ 24 h 51"/>
                  <a:gd name="T6" fmla="*/ 0 w 251"/>
                  <a:gd name="T7" fmla="*/ 27 h 51"/>
                  <a:gd name="T8" fmla="*/ 24 w 251"/>
                  <a:gd name="T9" fmla="*/ 51 h 51"/>
                  <a:gd name="T10" fmla="*/ 227 w 251"/>
                  <a:gd name="T11" fmla="*/ 51 h 51"/>
                  <a:gd name="T12" fmla="*/ 251 w 251"/>
                  <a:gd name="T13" fmla="*/ 27 h 51"/>
                  <a:gd name="T14" fmla="*/ 251 w 251"/>
                  <a:gd name="T15" fmla="*/ 24 h 51"/>
                  <a:gd name="T16" fmla="*/ 227 w 251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1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1" y="41"/>
                      <a:pt x="251" y="27"/>
                    </a:cubicBezTo>
                    <a:cubicBezTo>
                      <a:pt x="251" y="24"/>
                      <a:pt x="251" y="24"/>
                      <a:pt x="251" y="24"/>
                    </a:cubicBezTo>
                    <a:cubicBezTo>
                      <a:pt x="251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4" name="îṧḻiḓe"/>
              <p:cNvSpPr>
                <a:spLocks/>
              </p:cNvSpPr>
              <p:nvPr/>
            </p:nvSpPr>
            <p:spPr bwMode="auto">
              <a:xfrm>
                <a:off x="2154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0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39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39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5" name="îsḷide"/>
              <p:cNvSpPr>
                <a:spLocks/>
              </p:cNvSpPr>
              <p:nvPr/>
            </p:nvSpPr>
            <p:spPr bwMode="auto">
              <a:xfrm>
                <a:off x="2612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6" name="íṩḷïḋe"/>
              <p:cNvSpPr>
                <a:spLocks/>
              </p:cNvSpPr>
              <p:nvPr/>
            </p:nvSpPr>
            <p:spPr bwMode="auto">
              <a:xfrm>
                <a:off x="3070" y="1474"/>
                <a:ext cx="241" cy="49"/>
              </a:xfrm>
              <a:custGeom>
                <a:avLst/>
                <a:gdLst>
                  <a:gd name="T0" fmla="*/ 227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7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7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332" name="iṩľiḋê"/>
            <p:cNvGrpSpPr/>
            <p:nvPr/>
          </p:nvGrpSpPr>
          <p:grpSpPr>
            <a:xfrm>
              <a:off x="3151345" y="3390904"/>
              <a:ext cx="3824874" cy="1851656"/>
              <a:chOff x="7824351" y="3116333"/>
              <a:chExt cx="1714503" cy="830006"/>
            </a:xfrm>
          </p:grpSpPr>
          <p:grpSp>
            <p:nvGrpSpPr>
              <p:cNvPr id="333" name="işļiḑé"/>
              <p:cNvGrpSpPr/>
              <p:nvPr/>
            </p:nvGrpSpPr>
            <p:grpSpPr>
              <a:xfrm>
                <a:off x="7824351" y="3116333"/>
                <a:ext cx="1659023" cy="685771"/>
                <a:chOff x="7824355" y="3116331"/>
                <a:chExt cx="2155352" cy="890932"/>
              </a:xfrm>
            </p:grpSpPr>
            <p:sp>
              <p:nvSpPr>
                <p:cNvPr id="339" name="ïṣḻïḑê"/>
                <p:cNvSpPr/>
                <p:nvPr/>
              </p:nvSpPr>
              <p:spPr>
                <a:xfrm>
                  <a:off x="7824355" y="3116332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0" name="iṧļîďé"/>
                <p:cNvSpPr/>
                <p:nvPr/>
              </p:nvSpPr>
              <p:spPr>
                <a:xfrm>
                  <a:off x="8242600" y="3350708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1" name="iṧḷîḓe"/>
                <p:cNvSpPr/>
                <p:nvPr/>
              </p:nvSpPr>
              <p:spPr>
                <a:xfrm>
                  <a:off x="8652142" y="3116331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2" name="íṣ1idé"/>
                <p:cNvSpPr/>
                <p:nvPr/>
              </p:nvSpPr>
              <p:spPr>
                <a:xfrm>
                  <a:off x="7833058" y="3593491"/>
                  <a:ext cx="479976" cy="413772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3" name="iṡļidê"/>
                <p:cNvSpPr/>
                <p:nvPr/>
              </p:nvSpPr>
              <p:spPr>
                <a:xfrm>
                  <a:off x="9075532" y="3325133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4" name="îṣľiḋé"/>
                <p:cNvSpPr/>
                <p:nvPr/>
              </p:nvSpPr>
              <p:spPr>
                <a:xfrm>
                  <a:off x="9499730" y="3117986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  <p:grpSp>
            <p:nvGrpSpPr>
              <p:cNvPr id="334" name="iṡḻïḑé"/>
              <p:cNvGrpSpPr/>
              <p:nvPr/>
            </p:nvGrpSpPr>
            <p:grpSpPr>
              <a:xfrm>
                <a:off x="7831052" y="3636868"/>
                <a:ext cx="1707802" cy="309471"/>
                <a:chOff x="4831017" y="3636868"/>
                <a:chExt cx="1208170" cy="309471"/>
              </a:xfrm>
            </p:grpSpPr>
            <p:sp>
              <p:nvSpPr>
                <p:cNvPr id="335" name="îṥļïḋè"/>
                <p:cNvSpPr/>
                <p:nvPr/>
              </p:nvSpPr>
              <p:spPr>
                <a:xfrm flipV="1">
                  <a:off x="5398651" y="3636868"/>
                  <a:ext cx="59652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6" name="iṣlíḓe"/>
                <p:cNvSpPr/>
                <p:nvPr/>
              </p:nvSpPr>
              <p:spPr>
                <a:xfrm flipV="1">
                  <a:off x="5398651" y="3718763"/>
                  <a:ext cx="41874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7" name="îšľíḓe"/>
                <p:cNvSpPr/>
                <p:nvPr/>
              </p:nvSpPr>
              <p:spPr>
                <a:xfrm flipV="1">
                  <a:off x="5398651" y="3805806"/>
                  <a:ext cx="502087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8" name="i$ḷîde"/>
                <p:cNvSpPr/>
                <p:nvPr/>
              </p:nvSpPr>
              <p:spPr>
                <a:xfrm flipV="1">
                  <a:off x="4831017" y="3878980"/>
                  <a:ext cx="1208170" cy="6735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</p:grpSp>
      <p:sp>
        <p:nvSpPr>
          <p:cNvPr id="2" name="išļiḍè"/>
          <p:cNvSpPr>
            <a:spLocks noGrp="1"/>
          </p:cNvSpPr>
          <p:nvPr>
            <p:ph type="title" idx="4294967295"/>
          </p:nvPr>
        </p:nvSpPr>
        <p:spPr>
          <a:xfrm>
            <a:off x="695323" y="4046"/>
            <a:ext cx="10825164" cy="1013353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4332"/>
            <a:r>
              <a:rPr lang="zh-CN" altLang="en-US" sz="2800" b="1"/>
              <a:t>快速设计页面  </a:t>
            </a:r>
            <a:r>
              <a:rPr lang="en-US" altLang="zh-CN" sz="2800" b="1"/>
              <a:t>Quick design slides</a:t>
            </a:r>
            <a:endParaRPr lang="zh-CN" altLang="en-US" sz="2800" b="1" dirty="0"/>
          </a:p>
        </p:txBody>
      </p:sp>
      <p:grpSp>
        <p:nvGrpSpPr>
          <p:cNvPr id="347" name="iṡ1îḍé"/>
          <p:cNvGrpSpPr/>
          <p:nvPr/>
        </p:nvGrpSpPr>
        <p:grpSpPr>
          <a:xfrm>
            <a:off x="1030616" y="1784762"/>
            <a:ext cx="2700136" cy="4206855"/>
            <a:chOff x="7048982" y="1370076"/>
            <a:chExt cx="3522380" cy="5487924"/>
          </a:xfrm>
        </p:grpSpPr>
        <p:sp>
          <p:nvSpPr>
            <p:cNvPr id="92" name="iś1iḓè"/>
            <p:cNvSpPr/>
            <p:nvPr/>
          </p:nvSpPr>
          <p:spPr>
            <a:xfrm>
              <a:off x="7048982" y="1370076"/>
              <a:ext cx="3522380" cy="5487924"/>
            </a:xfrm>
            <a:prstGeom prst="rect">
              <a:avLst/>
            </a:prstGeom>
            <a:gradFill>
              <a:gsLst>
                <a:gs pos="69900">
                  <a:srgbClr val="FFFFFF"/>
                </a:gs>
                <a:gs pos="97297">
                  <a:srgbClr val="FFFFFF"/>
                </a:gs>
                <a:gs pos="0">
                  <a:srgbClr val="FFFFFF"/>
                </a:gs>
              </a:gsLst>
              <a:lin ang="5400000" scaled="1"/>
            </a:gra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3" name="ísḻíḑè"/>
            <p:cNvSpPr/>
            <p:nvPr/>
          </p:nvSpPr>
          <p:spPr>
            <a:xfrm>
              <a:off x="7048982" y="1370076"/>
              <a:ext cx="3522380" cy="264357"/>
            </a:xfrm>
            <a:prstGeom prst="rect">
              <a:avLst/>
            </a:prstGeom>
            <a:solidFill>
              <a:srgbClr val="CE4C4B"/>
            </a:soli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defRPr/>
              </a:pPr>
              <a:r>
                <a:rPr lang="zh-CN" altLang="en-US" sz="1000" kern="0">
                  <a:solidFill>
                    <a:srgbClr val="FFFFFF"/>
                  </a:solidFill>
                  <a:latin typeface="Arial"/>
                  <a:ea typeface="微软雅黑"/>
                </a:rPr>
                <a:t>图示库</a:t>
              </a:r>
              <a:r>
                <a:rPr lang="en-US" altLang="zh-CN" sz="1000" kern="0">
                  <a:solidFill>
                    <a:srgbClr val="FFFFFF"/>
                  </a:solidFill>
                  <a:latin typeface="Arial"/>
                  <a:ea typeface="微软雅黑"/>
                </a:rPr>
                <a:t>/Diagram Library</a:t>
              </a:r>
              <a:endParaRPr lang="zh-CN" altLang="en-US" sz="1000" kern="0" dirty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4" name="išļïḓè"/>
            <p:cNvSpPr/>
            <p:nvPr/>
          </p:nvSpPr>
          <p:spPr>
            <a:xfrm>
              <a:off x="7131365" y="1765273"/>
              <a:ext cx="217418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174" name="ïšľíḓè"/>
            <p:cNvSpPr/>
            <p:nvPr/>
          </p:nvSpPr>
          <p:spPr>
            <a:xfrm>
              <a:off x="10349229" y="1412945"/>
              <a:ext cx="178618" cy="178618"/>
            </a:xfrm>
            <a:prstGeom prst="mathMultiply">
              <a:avLst>
                <a:gd name="adj1" fmla="val 13304"/>
              </a:avLst>
            </a:prstGeom>
            <a:solidFill>
              <a:srgbClr val="CE4C4B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175" name="ïSliḍè"/>
            <p:cNvSpPr>
              <a:spLocks noChangeAspect="1"/>
            </p:cNvSpPr>
            <p:nvPr/>
          </p:nvSpPr>
          <p:spPr bwMode="auto">
            <a:xfrm>
              <a:off x="10083016" y="1432660"/>
              <a:ext cx="138120" cy="137471"/>
            </a:xfrm>
            <a:prstGeom prst="ellipse">
              <a:avLst/>
            </a:prstGeom>
            <a:noFill/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77">
                <a:defRPr/>
              </a:pPr>
              <a:r>
                <a:rPr lang="en-US" altLang="zh-CN" sz="1400" b="1" dirty="0">
                  <a:solidFill>
                    <a:srgbClr val="CE4C4B">
                      <a:lumMod val="20000"/>
                      <a:lumOff val="80000"/>
                    </a:srgbClr>
                  </a:solidFill>
                  <a:latin typeface="Arial"/>
                  <a:ea typeface="微软雅黑"/>
                </a:rPr>
                <a:t>?</a:t>
              </a:r>
              <a:endParaRPr lang="zh-CN" altLang="en-US" sz="1400" b="1" dirty="0">
                <a:solidFill>
                  <a:srgbClr val="CE4C4B">
                    <a:lumMod val="20000"/>
                    <a:lumOff val="80000"/>
                  </a:srgbClr>
                </a:solidFill>
                <a:latin typeface="Arial"/>
                <a:ea typeface="微软雅黑"/>
              </a:endParaRPr>
            </a:p>
          </p:txBody>
        </p:sp>
        <p:cxnSp>
          <p:nvCxnSpPr>
            <p:cNvPr id="176" name="ïşľïḋé"/>
            <p:cNvCxnSpPr>
              <a:cxnSpLocks/>
            </p:cNvCxnSpPr>
            <p:nvPr/>
          </p:nvCxnSpPr>
          <p:spPr>
            <a:xfrm>
              <a:off x="10292097" y="1439552"/>
              <a:ext cx="0" cy="130579"/>
            </a:xfrm>
            <a:prstGeom prst="line">
              <a:avLst/>
            </a:prstGeom>
            <a:noFill/>
            <a:ln w="6350" cap="flat" cmpd="sng" algn="ctr">
              <a:solidFill>
                <a:srgbClr val="CE4C4B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96" name="isľíḋê"/>
            <p:cNvSpPr/>
            <p:nvPr/>
          </p:nvSpPr>
          <p:spPr>
            <a:xfrm>
              <a:off x="712948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97" name="íṣlidé"/>
            <p:cNvSpPr/>
            <p:nvPr/>
          </p:nvSpPr>
          <p:spPr>
            <a:xfrm>
              <a:off x="9523961" y="1768180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grpSp>
          <p:nvGrpSpPr>
            <p:cNvPr id="100" name="îṡļîḓé"/>
            <p:cNvGrpSpPr/>
            <p:nvPr/>
          </p:nvGrpSpPr>
          <p:grpSpPr>
            <a:xfrm>
              <a:off x="7129482" y="3589063"/>
              <a:ext cx="1624839" cy="1005453"/>
              <a:chOff x="7528661" y="1052292"/>
              <a:chExt cx="2227549" cy="1378411"/>
            </a:xfrm>
          </p:grpSpPr>
          <p:sp>
            <p:nvSpPr>
              <p:cNvPr id="163" name="iṧļïḋé"/>
              <p:cNvSpPr/>
              <p:nvPr/>
            </p:nvSpPr>
            <p:spPr>
              <a:xfrm>
                <a:off x="7528661" y="1052292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cxnSp>
            <p:nvCxnSpPr>
              <p:cNvPr id="164" name="iṩḷîḑé"/>
              <p:cNvCxnSpPr>
                <a:stCxn id="169" idx="1"/>
                <a:endCxn id="170" idx="0"/>
              </p:cNvCxnSpPr>
              <p:nvPr/>
            </p:nvCxnSpPr>
            <p:spPr>
              <a:xfrm rot="10800000" flipV="1">
                <a:off x="7949108" y="1465564"/>
                <a:ext cx="285975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65" name="i$ļiḓé"/>
              <p:cNvCxnSpPr>
                <a:stCxn id="169" idx="3"/>
                <a:endCxn id="173" idx="0"/>
              </p:cNvCxnSpPr>
              <p:nvPr/>
            </p:nvCxnSpPr>
            <p:spPr>
              <a:xfrm>
                <a:off x="9135072" y="1465564"/>
                <a:ext cx="225522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166" name="ïṡļîde"/>
              <p:cNvGrpSpPr/>
              <p:nvPr/>
            </p:nvGrpSpPr>
            <p:grpSpPr>
              <a:xfrm>
                <a:off x="7744084" y="1288932"/>
                <a:ext cx="1821532" cy="913228"/>
                <a:chOff x="7824355" y="1531238"/>
                <a:chExt cx="1714500" cy="859568"/>
              </a:xfrm>
            </p:grpSpPr>
            <p:grpSp>
              <p:nvGrpSpPr>
                <p:cNvPr id="167" name="iṣḻïḋe"/>
                <p:cNvGrpSpPr/>
                <p:nvPr/>
              </p:nvGrpSpPr>
              <p:grpSpPr>
                <a:xfrm>
                  <a:off x="7824355" y="2004856"/>
                  <a:ext cx="1714500" cy="385950"/>
                  <a:chOff x="7824355" y="1863749"/>
                  <a:chExt cx="1568912" cy="353177"/>
                </a:xfrm>
              </p:grpSpPr>
              <p:sp>
                <p:nvSpPr>
                  <p:cNvPr id="170" name="îś1ïḓè"/>
                  <p:cNvSpPr/>
                  <p:nvPr/>
                </p:nvSpPr>
                <p:spPr>
                  <a:xfrm>
                    <a:off x="782435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1" name="ï$ḻîḋê"/>
                  <p:cNvSpPr/>
                  <p:nvPr/>
                </p:nvSpPr>
                <p:spPr>
                  <a:xfrm>
                    <a:off x="822960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2" name="iṧ1îdê"/>
                  <p:cNvSpPr/>
                  <p:nvPr/>
                </p:nvSpPr>
                <p:spPr>
                  <a:xfrm>
                    <a:off x="863484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3" name="ïṣļiḓè"/>
                  <p:cNvSpPr/>
                  <p:nvPr/>
                </p:nvSpPr>
                <p:spPr>
                  <a:xfrm>
                    <a:off x="904009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cxnSp>
              <p:nvCxnSpPr>
                <p:cNvPr id="168" name="ïṣḷîḓé"/>
                <p:cNvCxnSpPr>
                  <a:stCxn id="172" idx="0"/>
                  <a:endCxn id="171" idx="0"/>
                </p:cNvCxnSpPr>
                <p:nvPr/>
              </p:nvCxnSpPr>
              <p:spPr>
                <a:xfrm rot="16200000" flipV="1">
                  <a:off x="8681605" y="1783431"/>
                  <a:ext cx="12700" cy="442850"/>
                </a:xfrm>
                <a:prstGeom prst="bentConnector3">
                  <a:avLst>
                    <a:gd name="adj1" fmla="val 1554551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solidFill>
                    <a:srgbClr val="867D98">
                      <a:lumMod val="40000"/>
                      <a:lumOff val="60000"/>
                    </a:srgbClr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169" name="îś1îḓe"/>
                <p:cNvSpPr/>
                <p:nvPr/>
              </p:nvSpPr>
              <p:spPr>
                <a:xfrm flipV="1">
                  <a:off x="8286501" y="1531238"/>
                  <a:ext cx="847108" cy="33250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  <p:grpSp>
          <p:nvGrpSpPr>
            <p:cNvPr id="101" name="îśľiḋé"/>
            <p:cNvGrpSpPr/>
            <p:nvPr/>
          </p:nvGrpSpPr>
          <p:grpSpPr>
            <a:xfrm>
              <a:off x="8813093" y="2497554"/>
              <a:ext cx="1624839" cy="1005453"/>
              <a:chOff x="10080565" y="1070123"/>
              <a:chExt cx="2227549" cy="1378411"/>
            </a:xfrm>
          </p:grpSpPr>
          <p:sp>
            <p:nvSpPr>
              <p:cNvPr id="141" name="îṡ1ïḋè"/>
              <p:cNvSpPr/>
              <p:nvPr/>
            </p:nvSpPr>
            <p:spPr>
              <a:xfrm>
                <a:off x="10080565" y="1070123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42" name="ïṥļiďé"/>
              <p:cNvGrpSpPr/>
              <p:nvPr/>
            </p:nvGrpSpPr>
            <p:grpSpPr>
              <a:xfrm>
                <a:off x="10260890" y="1313367"/>
                <a:ext cx="1856770" cy="854413"/>
                <a:chOff x="5398496" y="1554238"/>
                <a:chExt cx="1747668" cy="804209"/>
              </a:xfrm>
              <a:solidFill>
                <a:srgbClr val="867D98">
                  <a:lumMod val="20000"/>
                  <a:lumOff val="80000"/>
                </a:srgbClr>
              </a:solidFill>
            </p:grpSpPr>
            <p:grpSp>
              <p:nvGrpSpPr>
                <p:cNvPr id="143" name="íŝļîḓe"/>
                <p:cNvGrpSpPr/>
                <p:nvPr/>
              </p:nvGrpSpPr>
              <p:grpSpPr>
                <a:xfrm>
                  <a:off x="5398652" y="1568615"/>
                  <a:ext cx="893792" cy="789832"/>
                  <a:chOff x="5398652" y="1568615"/>
                  <a:chExt cx="1147620" cy="789832"/>
                </a:xfrm>
                <a:grpFill/>
              </p:grpSpPr>
              <p:sp>
                <p:nvSpPr>
                  <p:cNvPr id="158" name="ïśľiďe"/>
                  <p:cNvSpPr/>
                  <p:nvPr/>
                </p:nvSpPr>
                <p:spPr>
                  <a:xfrm>
                    <a:off x="5398652" y="2030991"/>
                    <a:ext cx="1146276" cy="327456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9" name="îṥḻïďê"/>
                  <p:cNvSpPr/>
                  <p:nvPr/>
                </p:nvSpPr>
                <p:spPr>
                  <a:xfrm>
                    <a:off x="5398652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0" name="íŝľiḋè"/>
                  <p:cNvSpPr/>
                  <p:nvPr/>
                </p:nvSpPr>
                <p:spPr>
                  <a:xfrm>
                    <a:off x="5699988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1" name="í$líḑe"/>
                  <p:cNvSpPr/>
                  <p:nvPr/>
                </p:nvSpPr>
                <p:spPr>
                  <a:xfrm>
                    <a:off x="6001324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2" name="iṣľíḋe"/>
                  <p:cNvSpPr/>
                  <p:nvPr/>
                </p:nvSpPr>
                <p:spPr>
                  <a:xfrm>
                    <a:off x="6302660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4" name="îšļíḍê"/>
                <p:cNvGrpSpPr/>
                <p:nvPr/>
              </p:nvGrpSpPr>
              <p:grpSpPr>
                <a:xfrm>
                  <a:off x="6381318" y="2055683"/>
                  <a:ext cx="764844" cy="302764"/>
                  <a:chOff x="5391220" y="3636866"/>
                  <a:chExt cx="603957" cy="302764"/>
                </a:xfrm>
                <a:grpFill/>
              </p:grpSpPr>
              <p:sp>
                <p:nvSpPr>
                  <p:cNvPr id="154" name="iṩľidê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5" name="íSļîḓe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6" name="íṡľíḋé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7" name="ïśḷidè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5" name="îślïḋe"/>
                <p:cNvGrpSpPr/>
                <p:nvPr/>
              </p:nvGrpSpPr>
              <p:grpSpPr>
                <a:xfrm>
                  <a:off x="5398496" y="1554238"/>
                  <a:ext cx="1747668" cy="306061"/>
                  <a:chOff x="4615136" y="3636866"/>
                  <a:chExt cx="1380041" cy="306061"/>
                </a:xfrm>
                <a:grpFill/>
              </p:grpSpPr>
              <p:sp>
                <p:nvSpPr>
                  <p:cNvPr id="146" name="íSľîďê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7" name="ïṡ1ídé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8" name="îṩḻídê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9" name="îśļïḑe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0" name="iSliḍê"/>
                  <p:cNvSpPr/>
                  <p:nvPr/>
                </p:nvSpPr>
                <p:spPr>
                  <a:xfrm flipV="1">
                    <a:off x="461513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1" name="îṥḷîḋé"/>
                  <p:cNvSpPr/>
                  <p:nvPr/>
                </p:nvSpPr>
                <p:spPr>
                  <a:xfrm flipV="1">
                    <a:off x="4800193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2" name="ïṧľîḍê"/>
                  <p:cNvSpPr/>
                  <p:nvPr/>
                </p:nvSpPr>
                <p:spPr>
                  <a:xfrm flipV="1">
                    <a:off x="4985250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3" name="îṡliḑé"/>
                  <p:cNvSpPr/>
                  <p:nvPr/>
                </p:nvSpPr>
                <p:spPr>
                  <a:xfrm flipV="1">
                    <a:off x="517030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2" name="í$1íde"/>
            <p:cNvGrpSpPr/>
            <p:nvPr/>
          </p:nvGrpSpPr>
          <p:grpSpPr>
            <a:xfrm>
              <a:off x="8813093" y="3591398"/>
              <a:ext cx="1624839" cy="1005453"/>
              <a:chOff x="10080565" y="-604150"/>
              <a:chExt cx="2227549" cy="1378411"/>
            </a:xfrm>
          </p:grpSpPr>
          <p:sp>
            <p:nvSpPr>
              <p:cNvPr id="127" name="íṩľíḍê"/>
              <p:cNvSpPr/>
              <p:nvPr/>
            </p:nvSpPr>
            <p:spPr>
              <a:xfrm>
                <a:off x="10080565" y="-60415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28575" cap="flat" cmpd="sng" algn="ctr">
                <a:solidFill>
                  <a:srgbClr val="CC4A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28" name="îŝḻíďé"/>
              <p:cNvGrpSpPr/>
              <p:nvPr/>
            </p:nvGrpSpPr>
            <p:grpSpPr>
              <a:xfrm>
                <a:off x="10269164" y="-345778"/>
                <a:ext cx="1821535" cy="881821"/>
                <a:chOff x="7824351" y="3116333"/>
                <a:chExt cx="1714503" cy="830006"/>
              </a:xfrm>
            </p:grpSpPr>
            <p:grpSp>
              <p:nvGrpSpPr>
                <p:cNvPr id="129" name="ïS1iḑè"/>
                <p:cNvGrpSpPr/>
                <p:nvPr/>
              </p:nvGrpSpPr>
              <p:grpSpPr>
                <a:xfrm>
                  <a:off x="7824351" y="3116333"/>
                  <a:ext cx="1659023" cy="685771"/>
                  <a:chOff x="7824355" y="3116331"/>
                  <a:chExt cx="2155352" cy="890932"/>
                </a:xfrm>
              </p:grpSpPr>
              <p:sp>
                <p:nvSpPr>
                  <p:cNvPr id="135" name="í$ḻîḍe"/>
                  <p:cNvSpPr/>
                  <p:nvPr/>
                </p:nvSpPr>
                <p:spPr>
                  <a:xfrm>
                    <a:off x="7824355" y="3116332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6" name="ïSļîďe"/>
                  <p:cNvSpPr/>
                  <p:nvPr/>
                </p:nvSpPr>
                <p:spPr>
                  <a:xfrm>
                    <a:off x="8242600" y="3350708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7" name="îśľîdê"/>
                  <p:cNvSpPr/>
                  <p:nvPr/>
                </p:nvSpPr>
                <p:spPr>
                  <a:xfrm>
                    <a:off x="8652142" y="3116331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8" name="íṥľîdé"/>
                  <p:cNvSpPr/>
                  <p:nvPr/>
                </p:nvSpPr>
                <p:spPr>
                  <a:xfrm>
                    <a:off x="7833058" y="3593491"/>
                    <a:ext cx="479976" cy="413772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9" name="i$ľîḋè"/>
                  <p:cNvSpPr/>
                  <p:nvPr/>
                </p:nvSpPr>
                <p:spPr>
                  <a:xfrm>
                    <a:off x="9075532" y="3325133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0" name="î$ļïďê"/>
                  <p:cNvSpPr/>
                  <p:nvPr/>
                </p:nvSpPr>
                <p:spPr>
                  <a:xfrm>
                    <a:off x="9499730" y="3117986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30" name="iṧ1íḍè"/>
                <p:cNvGrpSpPr/>
                <p:nvPr/>
              </p:nvGrpSpPr>
              <p:grpSpPr>
                <a:xfrm>
                  <a:off x="7831052" y="3636868"/>
                  <a:ext cx="1707802" cy="309471"/>
                  <a:chOff x="4831017" y="3636868"/>
                  <a:chExt cx="1208170" cy="309471"/>
                </a:xfrm>
              </p:grpSpPr>
              <p:sp>
                <p:nvSpPr>
                  <p:cNvPr id="131" name="íşḻîḑé"/>
                  <p:cNvSpPr/>
                  <p:nvPr/>
                </p:nvSpPr>
                <p:spPr>
                  <a:xfrm flipV="1">
                    <a:off x="5398651" y="3636868"/>
                    <a:ext cx="59652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2" name="isḻíďe"/>
                  <p:cNvSpPr/>
                  <p:nvPr/>
                </p:nvSpPr>
                <p:spPr>
                  <a:xfrm flipV="1">
                    <a:off x="5398651" y="3718763"/>
                    <a:ext cx="41874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3" name="ïṧ1iḑe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4" name="îṡḷiďé"/>
                  <p:cNvSpPr/>
                  <p:nvPr/>
                </p:nvSpPr>
                <p:spPr>
                  <a:xfrm flipV="1">
                    <a:off x="4831017" y="3878980"/>
                    <a:ext cx="1208170" cy="6735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3" name="îšľîḑè"/>
            <p:cNvGrpSpPr/>
            <p:nvPr/>
          </p:nvGrpSpPr>
          <p:grpSpPr>
            <a:xfrm>
              <a:off x="7129482" y="2500590"/>
              <a:ext cx="1624839" cy="1005453"/>
              <a:chOff x="7528661" y="-621980"/>
              <a:chExt cx="2227549" cy="1378411"/>
            </a:xfrm>
          </p:grpSpPr>
          <p:sp>
            <p:nvSpPr>
              <p:cNvPr id="104" name="ïş1iḋe"/>
              <p:cNvSpPr/>
              <p:nvPr/>
            </p:nvSpPr>
            <p:spPr>
              <a:xfrm>
                <a:off x="7528661" y="-62198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05" name="ïṡļïḍe"/>
              <p:cNvGrpSpPr/>
              <p:nvPr/>
            </p:nvGrpSpPr>
            <p:grpSpPr>
              <a:xfrm>
                <a:off x="7559212" y="-568070"/>
                <a:ext cx="2165599" cy="1169924"/>
                <a:chOff x="2857500" y="4505325"/>
                <a:chExt cx="2038350" cy="1101180"/>
              </a:xfrm>
            </p:grpSpPr>
            <p:sp>
              <p:nvSpPr>
                <p:cNvPr id="106" name="îṡlîḓe"/>
                <p:cNvSpPr/>
                <p:nvPr/>
              </p:nvSpPr>
              <p:spPr>
                <a:xfrm>
                  <a:off x="2857500" y="4505325"/>
                  <a:ext cx="2038350" cy="683215"/>
                </a:xfrm>
                <a:prstGeom prst="roundRect">
                  <a:avLst>
                    <a:gd name="adj" fmla="val 0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107" name="ïş1ïḑê"/>
                <p:cNvSpPr/>
                <p:nvPr/>
              </p:nvSpPr>
              <p:spPr>
                <a:xfrm>
                  <a:off x="3438526" y="4690020"/>
                  <a:ext cx="872738" cy="167730"/>
                </a:xfrm>
                <a:prstGeom prst="roundRect">
                  <a:avLst>
                    <a:gd name="adj" fmla="val 22611"/>
                  </a:avLst>
                </a:prstGeom>
                <a:solidFill>
                  <a:srgbClr val="FFFFFF"/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grpSp>
              <p:nvGrpSpPr>
                <p:cNvPr id="108" name="îśḻidé"/>
                <p:cNvGrpSpPr/>
                <p:nvPr/>
              </p:nvGrpSpPr>
              <p:grpSpPr>
                <a:xfrm>
                  <a:off x="3222240" y="4899570"/>
                  <a:ext cx="1305310" cy="161380"/>
                  <a:chOff x="3438526" y="4899570"/>
                  <a:chExt cx="872738" cy="161380"/>
                </a:xfrm>
              </p:grpSpPr>
              <p:sp>
                <p:nvSpPr>
                  <p:cNvPr id="125" name="iŝļîḍê"/>
                  <p:cNvSpPr/>
                  <p:nvPr/>
                </p:nvSpPr>
                <p:spPr>
                  <a:xfrm>
                    <a:off x="3438526" y="48995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26" name="ïšľiḋè"/>
                  <p:cNvSpPr/>
                  <p:nvPr/>
                </p:nvSpPr>
                <p:spPr>
                  <a:xfrm>
                    <a:off x="3438526" y="50011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09" name="îṧ1îḍé"/>
                <p:cNvGrpSpPr/>
                <p:nvPr/>
              </p:nvGrpSpPr>
              <p:grpSpPr>
                <a:xfrm>
                  <a:off x="3076645" y="5303743"/>
                  <a:ext cx="1672005" cy="302762"/>
                  <a:chOff x="3076645" y="5303743"/>
                  <a:chExt cx="1803010" cy="302762"/>
                </a:xfrm>
              </p:grpSpPr>
              <p:grpSp>
                <p:nvGrpSpPr>
                  <p:cNvPr id="110" name="íş1íḓé"/>
                  <p:cNvGrpSpPr/>
                  <p:nvPr/>
                </p:nvGrpSpPr>
                <p:grpSpPr>
                  <a:xfrm>
                    <a:off x="307664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21" name="íşľiḑê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2" name="iṣlïḓé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3" name="îSḻíḓê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4" name="îŝḷïḋê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1" name="ïšḻíḓe"/>
                  <p:cNvGrpSpPr/>
                  <p:nvPr/>
                </p:nvGrpSpPr>
                <p:grpSpPr>
                  <a:xfrm>
                    <a:off x="3733870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7" name="îšḻiḋè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8" name="îŝlíďé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9" name="ïṣ1ídè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0" name="îSliḑe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2" name="ïṡļîḋé"/>
                  <p:cNvGrpSpPr/>
                  <p:nvPr/>
                </p:nvGrpSpPr>
                <p:grpSpPr>
                  <a:xfrm>
                    <a:off x="439109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3" name="iŝḻiḍê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4" name="îṩḻíďê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5" name="î$ḻiďé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6" name="îṥḷîḓé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240" name="ïṩlïḋê"/>
            <p:cNvGrpSpPr/>
            <p:nvPr/>
          </p:nvGrpSpPr>
          <p:grpSpPr>
            <a:xfrm>
              <a:off x="7132217" y="4676913"/>
              <a:ext cx="1623476" cy="1004546"/>
              <a:chOff x="4981478" y="4416941"/>
              <a:chExt cx="2227549" cy="1378411"/>
            </a:xfrm>
          </p:grpSpPr>
          <p:sp>
            <p:nvSpPr>
              <p:cNvPr id="241" name="ïšľîḋe"/>
              <p:cNvSpPr/>
              <p:nvPr/>
            </p:nvSpPr>
            <p:spPr>
              <a:xfrm>
                <a:off x="4981478" y="441694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42" name="ïṧliḓé"/>
              <p:cNvGrpSpPr/>
              <p:nvPr/>
            </p:nvGrpSpPr>
            <p:grpSpPr>
              <a:xfrm>
                <a:off x="5168481" y="4640406"/>
                <a:ext cx="1856603" cy="905125"/>
                <a:chOff x="5400091" y="4685784"/>
                <a:chExt cx="1747511" cy="851941"/>
              </a:xfrm>
            </p:grpSpPr>
            <p:sp>
              <p:nvSpPr>
                <p:cNvPr id="243" name="î$líḍè"/>
                <p:cNvSpPr/>
                <p:nvPr/>
              </p:nvSpPr>
              <p:spPr>
                <a:xfrm>
                  <a:off x="540009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4" name="išļïďé"/>
                <p:cNvSpPr/>
                <p:nvPr/>
              </p:nvSpPr>
              <p:spPr>
                <a:xfrm>
                  <a:off x="6002766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5" name="ïṣḻiḍê"/>
                <p:cNvSpPr/>
                <p:nvPr/>
              </p:nvSpPr>
              <p:spPr>
                <a:xfrm>
                  <a:off x="660544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6" name="îŝliḑê"/>
                <p:cNvSpPr/>
                <p:nvPr/>
              </p:nvSpPr>
              <p:spPr>
                <a:xfrm>
                  <a:off x="5400091" y="4685784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7" name="íSḻîḋe"/>
                <p:cNvSpPr/>
                <p:nvPr/>
              </p:nvSpPr>
              <p:spPr>
                <a:xfrm>
                  <a:off x="5400091" y="5385638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grpSp>
          <p:nvGrpSpPr>
            <p:cNvPr id="248" name="îṥḷiďé"/>
            <p:cNvGrpSpPr/>
            <p:nvPr/>
          </p:nvGrpSpPr>
          <p:grpSpPr>
            <a:xfrm>
              <a:off x="8815062" y="5750806"/>
              <a:ext cx="1623476" cy="1004546"/>
              <a:chOff x="7528661" y="6101571"/>
              <a:chExt cx="2227549" cy="1378411"/>
            </a:xfrm>
          </p:grpSpPr>
          <p:sp>
            <p:nvSpPr>
              <p:cNvPr id="249" name="íṡḻïḓè"/>
              <p:cNvSpPr/>
              <p:nvPr/>
            </p:nvSpPr>
            <p:spPr>
              <a:xfrm>
                <a:off x="7528661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50" name="íşḻîḑé"/>
              <p:cNvGrpSpPr/>
              <p:nvPr/>
            </p:nvGrpSpPr>
            <p:grpSpPr>
              <a:xfrm>
                <a:off x="7792039" y="6315774"/>
                <a:ext cx="1684789" cy="966521"/>
                <a:chOff x="5447603" y="4660900"/>
                <a:chExt cx="1585793" cy="909730"/>
              </a:xfrm>
            </p:grpSpPr>
            <p:grpSp>
              <p:nvGrpSpPr>
                <p:cNvPr id="251" name="iŝľíḑê"/>
                <p:cNvGrpSpPr/>
                <p:nvPr/>
              </p:nvGrpSpPr>
              <p:grpSpPr>
                <a:xfrm>
                  <a:off x="5447603" y="4660900"/>
                  <a:ext cx="1585793" cy="909730"/>
                  <a:chOff x="2974312" y="3143456"/>
                  <a:chExt cx="8280835" cy="5557881"/>
                </a:xfrm>
                <a:solidFill>
                  <a:srgbClr val="FFFFFF"/>
                </a:solidFill>
              </p:grpSpPr>
              <p:sp>
                <p:nvSpPr>
                  <p:cNvPr id="269" name="íṥļíďè"/>
                  <p:cNvSpPr/>
                  <p:nvPr/>
                </p:nvSpPr>
                <p:spPr>
                  <a:xfrm>
                    <a:off x="7388104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0" name="îṥļíḍè"/>
                  <p:cNvSpPr/>
                  <p:nvPr/>
                </p:nvSpPr>
                <p:spPr>
                  <a:xfrm>
                    <a:off x="3020657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1" name="ïşļíḑê"/>
                  <p:cNvSpPr/>
                  <p:nvPr/>
                </p:nvSpPr>
                <p:spPr>
                  <a:xfrm>
                    <a:off x="2974312" y="3143456"/>
                    <a:ext cx="8280835" cy="2504969"/>
                  </a:xfrm>
                  <a:prstGeom prst="roundRect">
                    <a:avLst/>
                  </a:pr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2" name="ïšḻïḓé"/>
                <p:cNvGrpSpPr/>
                <p:nvPr/>
              </p:nvGrpSpPr>
              <p:grpSpPr>
                <a:xfrm>
                  <a:off x="5873171" y="4752393"/>
                  <a:ext cx="743530" cy="743528"/>
                  <a:chOff x="5785244" y="4664463"/>
                  <a:chExt cx="919391" cy="919388"/>
                </a:xfrm>
              </p:grpSpPr>
              <p:sp>
                <p:nvSpPr>
                  <p:cNvPr id="265" name="iŝľiḑé"/>
                  <p:cNvSpPr/>
                  <p:nvPr/>
                </p:nvSpPr>
                <p:spPr>
                  <a:xfrm>
                    <a:off x="5785245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2346282"/>
                        </a:moveTo>
                        <a:cubicBezTo>
                          <a:pt x="0" y="1050466"/>
                          <a:pt x="1050466" y="0"/>
                          <a:pt x="2346282" y="0"/>
                        </a:cubicBezTo>
                        <a:lnTo>
                          <a:pt x="2346282" y="2346282"/>
                        </a:lnTo>
                        <a:lnTo>
                          <a:pt x="0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6" name="îśḻïḑè"/>
                  <p:cNvSpPr/>
                  <p:nvPr/>
                </p:nvSpPr>
                <p:spPr>
                  <a:xfrm>
                    <a:off x="6255317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0"/>
                        </a:moveTo>
                        <a:cubicBezTo>
                          <a:pt x="1295816" y="0"/>
                          <a:pt x="2346282" y="1050466"/>
                          <a:pt x="2346282" y="2346282"/>
                        </a:cubicBezTo>
                        <a:lnTo>
                          <a:pt x="0" y="234628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7" name="ï$ļîḋe"/>
                  <p:cNvSpPr/>
                  <p:nvPr/>
                </p:nvSpPr>
                <p:spPr>
                  <a:xfrm>
                    <a:off x="6255316" y="5134534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0"/>
                        </a:moveTo>
                        <a:cubicBezTo>
                          <a:pt x="2346282" y="1295816"/>
                          <a:pt x="1295816" y="2346282"/>
                          <a:pt x="0" y="2346282"/>
                        </a:cubicBezTo>
                        <a:lnTo>
                          <a:pt x="0" y="0"/>
                        </a:lnTo>
                        <a:lnTo>
                          <a:pt x="2346282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8" name="îṧļîďé"/>
                  <p:cNvSpPr/>
                  <p:nvPr/>
                </p:nvSpPr>
                <p:spPr>
                  <a:xfrm>
                    <a:off x="5785244" y="5134534"/>
                    <a:ext cx="449317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2346282"/>
                        </a:moveTo>
                        <a:cubicBezTo>
                          <a:pt x="1050466" y="2346282"/>
                          <a:pt x="0" y="1295816"/>
                          <a:pt x="0" y="0"/>
                        </a:cubicBezTo>
                        <a:lnTo>
                          <a:pt x="2346282" y="0"/>
                        </a:lnTo>
                        <a:lnTo>
                          <a:pt x="2346282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3" name="iŝ1íḋé"/>
                <p:cNvGrpSpPr/>
                <p:nvPr/>
              </p:nvGrpSpPr>
              <p:grpSpPr>
                <a:xfrm>
                  <a:off x="5527790" y="4762606"/>
                  <a:ext cx="424498" cy="700374"/>
                  <a:chOff x="5527790" y="4241842"/>
                  <a:chExt cx="424498" cy="700374"/>
                </a:xfrm>
              </p:grpSpPr>
              <p:sp>
                <p:nvSpPr>
                  <p:cNvPr id="262" name="ïṩḷiḋe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3" name="iṡḻiďe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4" name="íSľiḑè"/>
                  <p:cNvSpPr/>
                  <p:nvPr/>
                </p:nvSpPr>
                <p:spPr>
                  <a:xfrm flipV="1">
                    <a:off x="5527790" y="4896497"/>
                    <a:ext cx="424498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7" name="íṩļîḋê"/>
                  <p:cNvSpPr/>
                  <p:nvPr/>
                </p:nvSpPr>
                <p:spPr>
                  <a:xfrm flipV="1">
                    <a:off x="5527790" y="4241842"/>
                    <a:ext cx="41843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8" name="ïṩḻîdê"/>
                  <p:cNvSpPr/>
                  <p:nvPr/>
                </p:nvSpPr>
                <p:spPr>
                  <a:xfrm flipV="1">
                    <a:off x="5527791" y="4321982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9" name="î$ḻíďe"/>
                  <p:cNvSpPr/>
                  <p:nvPr/>
                </p:nvSpPr>
                <p:spPr>
                  <a:xfrm flipV="1">
                    <a:off x="5527790" y="4402730"/>
                    <a:ext cx="232464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4" name="îṧḻíḑê"/>
                <p:cNvGrpSpPr/>
                <p:nvPr/>
              </p:nvGrpSpPr>
              <p:grpSpPr>
                <a:xfrm flipH="1">
                  <a:off x="6581925" y="4762606"/>
                  <a:ext cx="364391" cy="206608"/>
                  <a:chOff x="5527790" y="4735609"/>
                  <a:chExt cx="364391" cy="206608"/>
                </a:xfrm>
              </p:grpSpPr>
              <p:sp>
                <p:nvSpPr>
                  <p:cNvPr id="259" name="íṥḻîḋê"/>
                  <p:cNvSpPr/>
                  <p:nvPr/>
                </p:nvSpPr>
                <p:spPr>
                  <a:xfrm flipV="1">
                    <a:off x="5527791" y="4735609"/>
                    <a:ext cx="364390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0" name="íşlîdê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1" name="i$lïḋê"/>
                  <p:cNvSpPr/>
                  <p:nvPr/>
                </p:nvSpPr>
                <p:spPr>
                  <a:xfrm flipV="1">
                    <a:off x="5527790" y="4896498"/>
                    <a:ext cx="305859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5" name="iṡliḑé"/>
                <p:cNvGrpSpPr/>
                <p:nvPr/>
              </p:nvGrpSpPr>
              <p:grpSpPr>
                <a:xfrm flipH="1">
                  <a:off x="6633484" y="5256372"/>
                  <a:ext cx="312832" cy="206607"/>
                  <a:chOff x="5527790" y="4735608"/>
                  <a:chExt cx="312832" cy="206607"/>
                </a:xfrm>
              </p:grpSpPr>
              <p:sp>
                <p:nvSpPr>
                  <p:cNvPr id="256" name="is1íḍé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7" name="íSḻîḍé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8" name="ïṡliḋe"/>
                  <p:cNvSpPr/>
                  <p:nvPr/>
                </p:nvSpPr>
                <p:spPr>
                  <a:xfrm flipV="1">
                    <a:off x="5527790" y="4896496"/>
                    <a:ext cx="31283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72" name="îš1iḋé"/>
            <p:cNvGrpSpPr/>
            <p:nvPr/>
          </p:nvGrpSpPr>
          <p:grpSpPr>
            <a:xfrm>
              <a:off x="8815062" y="4676913"/>
              <a:ext cx="1623476" cy="1004546"/>
              <a:chOff x="10080565" y="4390379"/>
              <a:chExt cx="2227549" cy="1378411"/>
            </a:xfrm>
          </p:grpSpPr>
          <p:sp>
            <p:nvSpPr>
              <p:cNvPr id="273" name="ïṧļiḋe"/>
              <p:cNvSpPr/>
              <p:nvPr/>
            </p:nvSpPr>
            <p:spPr>
              <a:xfrm>
                <a:off x="10080565" y="4390379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74" name="îSḻíḍe"/>
              <p:cNvGrpSpPr/>
              <p:nvPr/>
            </p:nvGrpSpPr>
            <p:grpSpPr>
              <a:xfrm>
                <a:off x="10288768" y="4640405"/>
                <a:ext cx="1856603" cy="911561"/>
                <a:chOff x="10338974" y="4654911"/>
                <a:chExt cx="1878835" cy="922477"/>
              </a:xfrm>
            </p:grpSpPr>
            <p:grpSp>
              <p:nvGrpSpPr>
                <p:cNvPr id="275" name="îsľíḋe"/>
                <p:cNvGrpSpPr/>
                <p:nvPr/>
              </p:nvGrpSpPr>
              <p:grpSpPr>
                <a:xfrm>
                  <a:off x="10338974" y="4654911"/>
                  <a:ext cx="1878835" cy="922477"/>
                  <a:chOff x="5400091" y="4685784"/>
                  <a:chExt cx="1747511" cy="857999"/>
                </a:xfrm>
              </p:grpSpPr>
              <p:sp>
                <p:nvSpPr>
                  <p:cNvPr id="286" name="ïṡḷíďê"/>
                  <p:cNvSpPr/>
                  <p:nvPr/>
                </p:nvSpPr>
                <p:spPr>
                  <a:xfrm>
                    <a:off x="6002766" y="4935166"/>
                    <a:ext cx="542161" cy="35317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7" name="îs1iḓé"/>
                  <p:cNvSpPr/>
                  <p:nvPr/>
                </p:nvSpPr>
                <p:spPr>
                  <a:xfrm>
                    <a:off x="5400091" y="4685784"/>
                    <a:ext cx="1747511" cy="15208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8" name="îSḻîḍé"/>
                  <p:cNvSpPr/>
                  <p:nvPr/>
                </p:nvSpPr>
                <p:spPr>
                  <a:xfrm>
                    <a:off x="5400091" y="5385638"/>
                    <a:ext cx="1747511" cy="15814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6" name="i$ḻïdè"/>
                <p:cNvGrpSpPr/>
                <p:nvPr/>
              </p:nvGrpSpPr>
              <p:grpSpPr>
                <a:xfrm>
                  <a:off x="10350972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82" name="ïṣḻiḍe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3" name="îsļiḋê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4" name="ïṩḷïḓe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5" name="iṥľíḓè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7" name="isḷïḋe"/>
                <p:cNvGrpSpPr/>
                <p:nvPr/>
              </p:nvGrpSpPr>
              <p:grpSpPr>
                <a:xfrm>
                  <a:off x="11731410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78" name="islíḓè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9" name="ïśḷïḍé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0" name="iṩḻiḑê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1" name="ïṡļïḓé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89" name="iṩḻîdè"/>
            <p:cNvGrpSpPr/>
            <p:nvPr/>
          </p:nvGrpSpPr>
          <p:grpSpPr>
            <a:xfrm>
              <a:off x="7135385" y="5750806"/>
              <a:ext cx="1623476" cy="1004546"/>
              <a:chOff x="2434296" y="6101571"/>
              <a:chExt cx="2227549" cy="1378411"/>
            </a:xfrm>
          </p:grpSpPr>
          <p:sp>
            <p:nvSpPr>
              <p:cNvPr id="290" name="íşḷîďe"/>
              <p:cNvSpPr/>
              <p:nvPr/>
            </p:nvSpPr>
            <p:spPr>
              <a:xfrm>
                <a:off x="2434296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91" name="îṣḷíďè"/>
              <p:cNvGrpSpPr/>
              <p:nvPr/>
            </p:nvGrpSpPr>
            <p:grpSpPr>
              <a:xfrm>
                <a:off x="2633146" y="6349643"/>
                <a:ext cx="1831647" cy="972123"/>
                <a:chOff x="2591680" y="6282546"/>
                <a:chExt cx="1853580" cy="983764"/>
              </a:xfrm>
            </p:grpSpPr>
            <p:sp>
              <p:nvSpPr>
                <p:cNvPr id="292" name="ís1ïḋè"/>
                <p:cNvSpPr/>
                <p:nvPr/>
              </p:nvSpPr>
              <p:spPr>
                <a:xfrm>
                  <a:off x="2591680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3" name="îşļïďê"/>
                <p:cNvSpPr/>
                <p:nvPr/>
              </p:nvSpPr>
              <p:spPr>
                <a:xfrm>
                  <a:off x="3093911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4" name="íṡľîde"/>
                <p:cNvSpPr/>
                <p:nvPr/>
              </p:nvSpPr>
              <p:spPr>
                <a:xfrm>
                  <a:off x="3596142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5" name="îṡlíḍè"/>
                <p:cNvSpPr/>
                <p:nvPr/>
              </p:nvSpPr>
              <p:spPr>
                <a:xfrm>
                  <a:off x="4098373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6" name="ïṡľïḑê"/>
                <p:cNvSpPr/>
                <p:nvPr/>
              </p:nvSpPr>
              <p:spPr>
                <a:xfrm flipV="1">
                  <a:off x="29698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7" name="íṥľiḍé"/>
                <p:cNvSpPr/>
                <p:nvPr/>
              </p:nvSpPr>
              <p:spPr>
                <a:xfrm flipV="1">
                  <a:off x="347146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8" name="íślîďe"/>
                <p:cNvSpPr/>
                <p:nvPr/>
              </p:nvSpPr>
              <p:spPr>
                <a:xfrm flipV="1">
                  <a:off x="39731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9" name="ïŝ1ïḋé"/>
                <p:cNvSpPr/>
                <p:nvPr/>
              </p:nvSpPr>
              <p:spPr>
                <a:xfrm>
                  <a:off x="2978150" y="6682597"/>
                  <a:ext cx="1072074" cy="60174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0" name="îšľíďé"/>
                <p:cNvSpPr/>
                <p:nvPr/>
              </p:nvSpPr>
              <p:spPr>
                <a:xfrm>
                  <a:off x="2771775" y="6789618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1" name="işļïďê"/>
                <p:cNvSpPr/>
                <p:nvPr/>
              </p:nvSpPr>
              <p:spPr>
                <a:xfrm>
                  <a:off x="2771775" y="6900743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2" name="ïŝľîḑè"/>
                <p:cNvSpPr/>
                <p:nvPr/>
              </p:nvSpPr>
              <p:spPr>
                <a:xfrm>
                  <a:off x="2603972" y="7011867"/>
                  <a:ext cx="1841288" cy="254443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sp>
          <p:nvSpPr>
            <p:cNvPr id="348" name="íśḻïḋê"/>
            <p:cNvSpPr/>
            <p:nvPr/>
          </p:nvSpPr>
          <p:spPr>
            <a:xfrm>
              <a:off x="832672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349" name="ïSľiḑê"/>
            <p:cNvSpPr/>
            <p:nvPr/>
          </p:nvSpPr>
          <p:spPr>
            <a:xfrm>
              <a:off x="9523962" y="2063597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351" name="íşlïḋê"/>
          <p:cNvSpPr txBox="1"/>
          <p:nvPr/>
        </p:nvSpPr>
        <p:spPr>
          <a:xfrm>
            <a:off x="1396157" y="1297039"/>
            <a:ext cx="2528571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使用</a:t>
            </a:r>
            <a:r>
              <a:rPr lang="en-US" altLang="zh-CN" sz="1100" dirty="0"/>
              <a:t>【</a:t>
            </a:r>
            <a:r>
              <a:rPr lang="zh-CN" altLang="en-US" sz="1100" dirty="0"/>
              <a:t>图示库</a:t>
            </a:r>
            <a:r>
              <a:rPr lang="en-US" altLang="zh-CN" sz="1100" dirty="0"/>
              <a:t>】</a:t>
            </a:r>
            <a:r>
              <a:rPr lang="zh-CN" altLang="en-US" sz="1100"/>
              <a:t>筛选图示</a:t>
            </a:r>
            <a:endParaRPr lang="en-US" altLang="zh-CN" sz="1100"/>
          </a:p>
          <a:p>
            <a:r>
              <a:rPr lang="en-US" altLang="zh-CN" sz="1000"/>
              <a:t>Use Diagram Library to search diagram</a:t>
            </a:r>
            <a:endParaRPr lang="zh-CN" altLang="en-US" sz="1000" dirty="0"/>
          </a:p>
        </p:txBody>
      </p:sp>
      <p:sp>
        <p:nvSpPr>
          <p:cNvPr id="350" name="íṧḷïdé"/>
          <p:cNvSpPr/>
          <p:nvPr/>
        </p:nvSpPr>
        <p:spPr>
          <a:xfrm>
            <a:off x="1109408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1</a:t>
            </a:r>
            <a:endParaRPr lang="zh-CN" altLang="en-US" sz="1400" dirty="0"/>
          </a:p>
        </p:txBody>
      </p:sp>
      <p:sp>
        <p:nvSpPr>
          <p:cNvPr id="352" name="iŝľíḑe"/>
          <p:cNvSpPr/>
          <p:nvPr/>
        </p:nvSpPr>
        <p:spPr>
          <a:xfrm>
            <a:off x="4493791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2</a:t>
            </a:r>
            <a:endParaRPr lang="zh-CN" altLang="en-US" sz="1400" dirty="0"/>
          </a:p>
        </p:txBody>
      </p:sp>
      <p:sp>
        <p:nvSpPr>
          <p:cNvPr id="353" name="î$lïḋê"/>
          <p:cNvSpPr txBox="1"/>
          <p:nvPr/>
        </p:nvSpPr>
        <p:spPr>
          <a:xfrm>
            <a:off x="4780539" y="1297039"/>
            <a:ext cx="6355900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选择图示插入当前</a:t>
            </a:r>
            <a:r>
              <a:rPr lang="en-US" altLang="zh-CN" sz="1100" dirty="0"/>
              <a:t>PPT</a:t>
            </a:r>
            <a:r>
              <a:rPr lang="zh-CN" altLang="en-US" sz="1100" dirty="0"/>
              <a:t>主题，编辑修改文字，替换图标或</a:t>
            </a:r>
            <a:r>
              <a:rPr lang="zh-CN" altLang="en-US" sz="1100"/>
              <a:t>填充图片</a:t>
            </a:r>
            <a:endParaRPr lang="en-US" altLang="zh-CN" sz="1100"/>
          </a:p>
          <a:p>
            <a:r>
              <a:rPr lang="en-US" altLang="zh-CN" sz="1000"/>
              <a:t>Click to insert diagram into current presentation, edit text, replace icon or fill pictures.</a:t>
            </a:r>
            <a:endParaRPr lang="zh-CN" altLang="en-US" sz="1000" dirty="0"/>
          </a:p>
        </p:txBody>
      </p:sp>
      <p:sp>
        <p:nvSpPr>
          <p:cNvPr id="354" name="îṧļîḑê"/>
          <p:cNvSpPr txBox="1"/>
          <p:nvPr/>
        </p:nvSpPr>
        <p:spPr>
          <a:xfrm>
            <a:off x="2674621" y="2388910"/>
            <a:ext cx="1102172" cy="4233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100" dirty="0"/>
              <a:t>获取</a:t>
            </a:r>
            <a:r>
              <a:rPr lang="zh-CN" altLang="en-US" sz="1100"/>
              <a:t>更多帮助</a:t>
            </a:r>
            <a:endParaRPr lang="en-US" altLang="zh-CN" sz="1100"/>
          </a:p>
          <a:p>
            <a:pPr algn="ctr"/>
            <a:r>
              <a:rPr lang="en-US" altLang="zh-CN" sz="1051"/>
              <a:t>Get more help</a:t>
            </a:r>
            <a:endParaRPr lang="zh-CN" altLang="en-US" sz="1051" dirty="0"/>
          </a:p>
        </p:txBody>
      </p:sp>
      <p:sp>
        <p:nvSpPr>
          <p:cNvPr id="355" name="iSlïḑê"/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grpSp>
        <p:nvGrpSpPr>
          <p:cNvPr id="195" name="îşļîdé">
            <a:extLst>
              <a:ext uri="{FF2B5EF4-FFF2-40B4-BE49-F238E27FC236}">
                <a16:creationId xmlns:a16="http://schemas.microsoft.com/office/drawing/2014/main" id="{B01F4E16-0C10-4EC4-8A41-53B393FD2E7B}"/>
              </a:ext>
            </a:extLst>
          </p:cNvPr>
          <p:cNvGrpSpPr/>
          <p:nvPr/>
        </p:nvGrpSpPr>
        <p:grpSpPr>
          <a:xfrm flipH="1">
            <a:off x="3225513" y="2025825"/>
            <a:ext cx="181555" cy="389705"/>
            <a:chOff x="9957013" y="1703908"/>
            <a:chExt cx="215194" cy="491360"/>
          </a:xfrm>
        </p:grpSpPr>
        <p:sp>
          <p:nvSpPr>
            <p:cNvPr id="196" name="îṥlíḓé">
              <a:extLst>
                <a:ext uri="{FF2B5EF4-FFF2-40B4-BE49-F238E27FC236}">
                  <a16:creationId xmlns:a16="http://schemas.microsoft.com/office/drawing/2014/main" id="{5D4E8461-AFC3-4BD3-9434-5D62260C034A}"/>
                </a:ext>
              </a:extLst>
            </p:cNvPr>
            <p:cNvSpPr/>
            <p:nvPr/>
          </p:nvSpPr>
          <p:spPr>
            <a:xfrm>
              <a:off x="9957013" y="1705589"/>
              <a:ext cx="41246" cy="270786"/>
            </a:xfrm>
            <a:custGeom>
              <a:avLst/>
              <a:gdLst/>
              <a:ahLst/>
              <a:cxnLst/>
              <a:rect l="0" t="0" r="0" b="0"/>
              <a:pathLst>
                <a:path w="41245" h="270785">
                  <a:moveTo>
                    <a:pt x="33714" y="829"/>
                  </a:moveTo>
                  <a:cubicBezTo>
                    <a:pt x="11477" y="88342"/>
                    <a:pt x="359" y="178544"/>
                    <a:pt x="0" y="268925"/>
                  </a:cubicBezTo>
                  <a:cubicBezTo>
                    <a:pt x="0" y="271257"/>
                    <a:pt x="8428" y="274126"/>
                    <a:pt x="8428" y="271257"/>
                  </a:cubicBezTo>
                  <a:cubicBezTo>
                    <a:pt x="8608" y="181234"/>
                    <a:pt x="19905" y="91390"/>
                    <a:pt x="41963" y="4237"/>
                  </a:cubicBezTo>
                  <a:cubicBezTo>
                    <a:pt x="42680" y="1547"/>
                    <a:pt x="34252" y="-1502"/>
                    <a:pt x="33714" y="829"/>
                  </a:cubicBezTo>
                  <a:lnTo>
                    <a:pt x="33714" y="829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7" name="íṥľiḍè">
              <a:extLst>
                <a:ext uri="{FF2B5EF4-FFF2-40B4-BE49-F238E27FC236}">
                  <a16:creationId xmlns:a16="http://schemas.microsoft.com/office/drawing/2014/main" id="{62F93730-82B7-4006-9BD8-4D2DCA55CBD7}"/>
                </a:ext>
              </a:extLst>
            </p:cNvPr>
            <p:cNvSpPr/>
            <p:nvPr/>
          </p:nvSpPr>
          <p:spPr>
            <a:xfrm>
              <a:off x="9990868" y="1703841"/>
              <a:ext cx="172155" cy="129116"/>
            </a:xfrm>
            <a:custGeom>
              <a:avLst/>
              <a:gdLst/>
              <a:ahLst/>
              <a:cxnLst/>
              <a:rect l="0" t="0" r="0" b="0"/>
              <a:pathLst>
                <a:path w="172155" h="129116">
                  <a:moveTo>
                    <a:pt x="2011" y="7420"/>
                  </a:moveTo>
                  <a:cubicBezTo>
                    <a:pt x="57065" y="48128"/>
                    <a:pt x="112298" y="88835"/>
                    <a:pt x="167352" y="129543"/>
                  </a:cubicBezTo>
                  <a:cubicBezTo>
                    <a:pt x="171835" y="132950"/>
                    <a:pt x="175780" y="126494"/>
                    <a:pt x="171297" y="123087"/>
                  </a:cubicBezTo>
                  <a:cubicBezTo>
                    <a:pt x="116064" y="82379"/>
                    <a:pt x="61010" y="41672"/>
                    <a:pt x="5956" y="964"/>
                  </a:cubicBezTo>
                  <a:cubicBezTo>
                    <a:pt x="1294" y="-2443"/>
                    <a:pt x="-2472" y="4013"/>
                    <a:pt x="2011" y="7420"/>
                  </a:cubicBezTo>
                  <a:lnTo>
                    <a:pt x="2011" y="742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8" name="îṩḷíḋè">
              <a:extLst>
                <a:ext uri="{FF2B5EF4-FFF2-40B4-BE49-F238E27FC236}">
                  <a16:creationId xmlns:a16="http://schemas.microsoft.com/office/drawing/2014/main" id="{E9BF702A-0680-40BC-BBBC-CE956AA0699E}"/>
                </a:ext>
              </a:extLst>
            </p:cNvPr>
            <p:cNvSpPr/>
            <p:nvPr/>
          </p:nvSpPr>
          <p:spPr>
            <a:xfrm>
              <a:off x="9990365" y="1706888"/>
              <a:ext cx="181122" cy="487773"/>
            </a:xfrm>
            <a:custGeom>
              <a:avLst/>
              <a:gdLst/>
              <a:ahLst/>
              <a:cxnLst/>
              <a:rect l="0" t="0" r="0" b="0"/>
              <a:pathLst>
                <a:path w="181121" h="487773">
                  <a:moveTo>
                    <a:pt x="3" y="965"/>
                  </a:moveTo>
                  <a:cubicBezTo>
                    <a:pt x="5203" y="33782"/>
                    <a:pt x="24391" y="63909"/>
                    <a:pt x="38738" y="93319"/>
                  </a:cubicBezTo>
                  <a:cubicBezTo>
                    <a:pt x="53443" y="123626"/>
                    <a:pt x="67968" y="153932"/>
                    <a:pt x="81597" y="184597"/>
                  </a:cubicBezTo>
                  <a:cubicBezTo>
                    <a:pt x="109214" y="246107"/>
                    <a:pt x="133961" y="309231"/>
                    <a:pt x="151535" y="374327"/>
                  </a:cubicBezTo>
                  <a:cubicBezTo>
                    <a:pt x="161578" y="411268"/>
                    <a:pt x="169109" y="448748"/>
                    <a:pt x="173593" y="486766"/>
                  </a:cubicBezTo>
                  <a:cubicBezTo>
                    <a:pt x="173772" y="488738"/>
                    <a:pt x="182738" y="488200"/>
                    <a:pt x="182559" y="487124"/>
                  </a:cubicBezTo>
                  <a:cubicBezTo>
                    <a:pt x="166240" y="352449"/>
                    <a:pt x="111904" y="226560"/>
                    <a:pt x="53443" y="105513"/>
                  </a:cubicBezTo>
                  <a:cubicBezTo>
                    <a:pt x="45373" y="88656"/>
                    <a:pt x="37124" y="71979"/>
                    <a:pt x="28875" y="55122"/>
                  </a:cubicBezTo>
                  <a:cubicBezTo>
                    <a:pt x="20446" y="37907"/>
                    <a:pt x="12197" y="20512"/>
                    <a:pt x="9148" y="1324"/>
                  </a:cubicBezTo>
                  <a:cubicBezTo>
                    <a:pt x="8610" y="-649"/>
                    <a:pt x="-177" y="-111"/>
                    <a:pt x="3" y="965"/>
                  </a:cubicBezTo>
                  <a:lnTo>
                    <a:pt x="3" y="965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00" name="išlïḓe">
            <a:extLst>
              <a:ext uri="{FF2B5EF4-FFF2-40B4-BE49-F238E27FC236}">
                <a16:creationId xmlns:a16="http://schemas.microsoft.com/office/drawing/2014/main" id="{9EF3CA65-FB3F-47A3-BCF1-23E3EE554F5F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833021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i$1í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îslídê">
            <a:extLst>
              <a:ext uri="{FF2B5EF4-FFF2-40B4-BE49-F238E27FC236}">
                <a16:creationId xmlns:a16="http://schemas.microsoft.com/office/drawing/2014/main" id="{02C7BDCF-6A42-4EE9-912B-C8B925F44750}"/>
              </a:ext>
            </a:extLst>
          </p:cNvPr>
          <p:cNvGrpSpPr/>
          <p:nvPr/>
        </p:nvGrpSpPr>
        <p:grpSpPr>
          <a:xfrm>
            <a:off x="669925" y="3648073"/>
            <a:ext cx="10850563" cy="2495553"/>
            <a:chOff x="3012141" y="1290918"/>
            <a:chExt cx="6122894" cy="3440782"/>
          </a:xfrm>
        </p:grpSpPr>
        <p:sp>
          <p:nvSpPr>
            <p:cNvPr id="30" name="îs1ide">
              <a:extLst>
                <a:ext uri="{FF2B5EF4-FFF2-40B4-BE49-F238E27FC236}">
                  <a16:creationId xmlns:a16="http://schemas.microsoft.com/office/drawing/2014/main" id="{75486114-FC9B-40A3-9061-F98147F95CBC}"/>
                </a:ext>
              </a:extLst>
            </p:cNvPr>
            <p:cNvSpPr/>
            <p:nvPr/>
          </p:nvSpPr>
          <p:spPr>
            <a:xfrm>
              <a:off x="3012141" y="1748117"/>
              <a:ext cx="6122894" cy="2983583"/>
            </a:xfrm>
            <a:prstGeom prst="rect">
              <a:avLst/>
            </a:prstGeom>
            <a:ln w="3175">
              <a:solidFill>
                <a:srgbClr val="000000"/>
              </a:solidFill>
            </a:ln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本素材由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提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尊重知识产权并注重保护用户享有的各项权利。郑重提醒您：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中提供的任何信息内容的所有权、知识产权归其原始权利人或权利受让人所有，您免费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/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购买获得的是信息内容的使用权，并受下述条款的约束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您仅可以个人非商业用途使用该等信息内容，不可将信息内容的全部或部分用于出售，或以出租、出借、转让、分销、发布等其他任何方式供他人使用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禁止在接入互联网或移动互联网的任何网站、平台、应用或程序上以任何方式为他人提供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资源内容的下载。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resource is supplied by </a:t>
              </a:r>
              <a:r>
                <a:rPr lang="en-US" altLang="zh-CN" sz="700" dirty="0" err="1"/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respects all intellectual property rights and protects all the rights its users acquired. Solemnly remind you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 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ownership and intellectual property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belongs to its owner or the assignee of this ownership. you only acquired the usage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, as well as respected the following restrain terms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You are only allowed to use such resource for personal and non-commercial aim, not allowed to use such resource or part of it for the sale; or rent, lend, transfer to others; or distribution or release it in any way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You are not permitted to provide the resource of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in any website, platform, application access to the Internet or mobile Internet.</a:t>
              </a:r>
              <a:endParaRPr lang="zh-CN" altLang="en-US" sz="7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" name="íSļïḋe">
              <a:extLst>
                <a:ext uri="{FF2B5EF4-FFF2-40B4-BE49-F238E27FC236}">
                  <a16:creationId xmlns:a16="http://schemas.microsoft.com/office/drawing/2014/main" id="{05F3D130-F90D-4A87-9E3D-AC01D526B87B}"/>
                </a:ext>
              </a:extLst>
            </p:cNvPr>
            <p:cNvSpPr/>
            <p:nvPr/>
          </p:nvSpPr>
          <p:spPr>
            <a:xfrm>
              <a:off x="3012141" y="1290918"/>
              <a:ext cx="6122894" cy="457200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1050" dirty="0" err="1"/>
                <a:t>iSlide</a:t>
              </a:r>
              <a:r>
                <a:rPr lang="en-US" altLang="zh-CN" sz="1050" baseline="30000" dirty="0"/>
                <a:t>  </a:t>
              </a:r>
              <a:r>
                <a:rPr lang="zh-CN" altLang="en-US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版权声明  </a:t>
              </a:r>
              <a:r>
                <a:rPr lang="en-US" altLang="zh-CN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COPYRIGHT NOTICE</a:t>
              </a:r>
              <a:endParaRPr lang="zh-CN" altLang="en-US" sz="1051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7" name="íśļiḍe">
            <a:extLst>
              <a:ext uri="{FF2B5EF4-FFF2-40B4-BE49-F238E27FC236}">
                <a16:creationId xmlns:a16="http://schemas.microsoft.com/office/drawing/2014/main" id="{FCA4820A-B8E1-434F-B66D-EB93F605CDC9}"/>
              </a:ext>
            </a:extLst>
          </p:cNvPr>
          <p:cNvGrpSpPr/>
          <p:nvPr/>
        </p:nvGrpSpPr>
        <p:grpSpPr>
          <a:xfrm>
            <a:off x="669926" y="1070043"/>
            <a:ext cx="8400484" cy="1816466"/>
            <a:chOff x="669926" y="1070043"/>
            <a:chExt cx="8400484" cy="1816466"/>
          </a:xfrm>
        </p:grpSpPr>
        <p:grpSp>
          <p:nvGrpSpPr>
            <p:cNvPr id="55" name="îṧḷiḋé">
              <a:extLst>
                <a:ext uri="{FF2B5EF4-FFF2-40B4-BE49-F238E27FC236}">
                  <a16:creationId xmlns:a16="http://schemas.microsoft.com/office/drawing/2014/main" id="{205E32D3-F97D-4444-85C3-800AAD5285EE}"/>
                </a:ext>
              </a:extLst>
            </p:cNvPr>
            <p:cNvGrpSpPr/>
            <p:nvPr/>
          </p:nvGrpSpPr>
          <p:grpSpPr>
            <a:xfrm>
              <a:off x="3351892" y="1132701"/>
              <a:ext cx="3551553" cy="1643957"/>
              <a:chOff x="3351892" y="1132701"/>
              <a:chExt cx="3551553" cy="1643957"/>
            </a:xfrm>
          </p:grpSpPr>
          <p:sp>
            <p:nvSpPr>
              <p:cNvPr id="32" name="ísḷîḍè">
                <a:extLst>
                  <a:ext uri="{FF2B5EF4-FFF2-40B4-BE49-F238E27FC236}">
                    <a16:creationId xmlns:a16="http://schemas.microsoft.com/office/drawing/2014/main" id="{FEBC6BBC-BB54-4927-B452-5451B28DDDA5}"/>
                  </a:ext>
                </a:extLst>
              </p:cNvPr>
              <p:cNvSpPr/>
              <p:nvPr/>
            </p:nvSpPr>
            <p:spPr>
              <a:xfrm>
                <a:off x="3351892" y="2453493"/>
                <a:ext cx="3336479" cy="3231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ctr">
                <a:spAutoFit/>
              </a:bodyPr>
              <a:lstStyle/>
              <a:p>
                <a:pPr defTabSz="914354">
                  <a:lnSpc>
                    <a:spcPct val="15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  <a:hlinkClick r:id="rId4"/>
                  </a:rPr>
                  <a:t>www.islide.cc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3" name="isľïḓe">
                <a:extLst>
                  <a:ext uri="{FF2B5EF4-FFF2-40B4-BE49-F238E27FC236}">
                    <a16:creationId xmlns:a16="http://schemas.microsoft.com/office/drawing/2014/main" id="{387C4D2F-DDE4-4325-9289-797FA395D4BE}"/>
                  </a:ext>
                </a:extLst>
              </p:cNvPr>
              <p:cNvSpPr/>
              <p:nvPr/>
            </p:nvSpPr>
            <p:spPr>
              <a:xfrm>
                <a:off x="3351892" y="1132701"/>
                <a:ext cx="3551553" cy="110799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t">
                <a:spAutoFit/>
              </a:bodyPr>
              <a:lstStyle/>
              <a:p>
                <a:pPr defTabSz="914354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“一键”美化神器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专业</a:t>
                </a: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素材资源下载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20000"/>
                  </a:lnSpc>
                  <a:defRPr/>
                </a:pP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让</a:t>
                </a:r>
                <a:r>
                  <a:rPr lang="en-US" altLang="zh-CN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设计简单起来！</a:t>
                </a: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defRPr/>
                </a:pP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All-In-One PowerPoint Design Add-in</a:t>
                </a:r>
              </a:p>
              <a:p>
                <a:pPr defTabSz="914354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 Professional PowerPoint Resources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6" name="í$ḷiḍé">
              <a:extLst>
                <a:ext uri="{FF2B5EF4-FFF2-40B4-BE49-F238E27FC236}">
                  <a16:creationId xmlns:a16="http://schemas.microsoft.com/office/drawing/2014/main" id="{DBF86C5A-46C1-4DD7-84CF-BB20DBAF36B2}"/>
                </a:ext>
              </a:extLst>
            </p:cNvPr>
            <p:cNvGrpSpPr/>
            <p:nvPr/>
          </p:nvGrpSpPr>
          <p:grpSpPr>
            <a:xfrm>
              <a:off x="7672272" y="1128666"/>
              <a:ext cx="1398138" cy="1757843"/>
              <a:chOff x="7672272" y="1128666"/>
              <a:chExt cx="1398138" cy="1757843"/>
            </a:xfrm>
          </p:grpSpPr>
          <p:sp>
            <p:nvSpPr>
              <p:cNvPr id="34" name="íśḻidè">
                <a:extLst>
                  <a:ext uri="{FF2B5EF4-FFF2-40B4-BE49-F238E27FC236}">
                    <a16:creationId xmlns:a16="http://schemas.microsoft.com/office/drawing/2014/main" id="{7D7628F9-10BB-4B1A-9FD7-13B5C4904AEE}"/>
                  </a:ext>
                </a:extLst>
              </p:cNvPr>
              <p:cNvSpPr/>
              <p:nvPr/>
            </p:nvSpPr>
            <p:spPr>
              <a:xfrm>
                <a:off x="7672272" y="2486399"/>
                <a:ext cx="1398138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关注官方微信公众号</a:t>
                </a:r>
                <a:b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</a:br>
                <a:r>
                  <a:rPr lang="en-US" altLang="zh-CN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Follow us on WeChat</a:t>
                </a:r>
              </a:p>
            </p:txBody>
          </p:sp>
          <p:grpSp>
            <p:nvGrpSpPr>
              <p:cNvPr id="35" name="iṣḷïďè">
                <a:extLst>
                  <a:ext uri="{FF2B5EF4-FFF2-40B4-BE49-F238E27FC236}">
                    <a16:creationId xmlns:a16="http://schemas.microsoft.com/office/drawing/2014/main" id="{9D4A6AFC-4EDB-4329-A490-B7F93AD11431}"/>
                  </a:ext>
                </a:extLst>
              </p:cNvPr>
              <p:cNvGrpSpPr/>
              <p:nvPr/>
            </p:nvGrpSpPr>
            <p:grpSpPr>
              <a:xfrm>
                <a:off x="7692468" y="1128666"/>
                <a:ext cx="1357733" cy="1357734"/>
                <a:chOff x="4693653" y="1484781"/>
                <a:chExt cx="2329760" cy="2329758"/>
              </a:xfrm>
            </p:grpSpPr>
            <p:pic>
              <p:nvPicPr>
                <p:cNvPr id="36" name="ïṡḻîḑe">
                  <a:extLst>
                    <a:ext uri="{FF2B5EF4-FFF2-40B4-BE49-F238E27FC236}">
                      <a16:creationId xmlns:a16="http://schemas.microsoft.com/office/drawing/2014/main" id="{942EAD01-3CC1-4412-880E-B86F171325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693653" y="1484781"/>
                  <a:ext cx="2329760" cy="2329758"/>
                </a:xfrm>
                <a:prstGeom prst="rect">
                  <a:avLst/>
                </a:prstGeom>
              </p:spPr>
            </p:pic>
            <p:grpSp>
              <p:nvGrpSpPr>
                <p:cNvPr id="37" name="íŝļíḓe">
                  <a:extLst>
                    <a:ext uri="{FF2B5EF4-FFF2-40B4-BE49-F238E27FC236}">
                      <a16:creationId xmlns:a16="http://schemas.microsoft.com/office/drawing/2014/main" id="{D01E47ED-C402-438D-9A79-BC1163AB6CE1}"/>
                    </a:ext>
                  </a:extLst>
                </p:cNvPr>
                <p:cNvGrpSpPr/>
                <p:nvPr/>
              </p:nvGrpSpPr>
              <p:grpSpPr>
                <a:xfrm>
                  <a:off x="5497245" y="2228001"/>
                  <a:ext cx="722580" cy="722580"/>
                  <a:chOff x="5758004" y="2227152"/>
                  <a:chExt cx="724278" cy="724278"/>
                </a:xfrm>
              </p:grpSpPr>
              <p:sp>
                <p:nvSpPr>
                  <p:cNvPr id="38" name="îṡļíḓe">
                    <a:extLst>
                      <a:ext uri="{FF2B5EF4-FFF2-40B4-BE49-F238E27FC236}">
                        <a16:creationId xmlns:a16="http://schemas.microsoft.com/office/drawing/2014/main" id="{CEE1B0A4-0F49-4D05-B77A-DAF004479898}"/>
                      </a:ext>
                    </a:extLst>
                  </p:cNvPr>
                  <p:cNvSpPr/>
                  <p:nvPr/>
                </p:nvSpPr>
                <p:spPr>
                  <a:xfrm>
                    <a:off x="5758004" y="2227152"/>
                    <a:ext cx="724278" cy="724278"/>
                  </a:xfrm>
                  <a:prstGeom prst="roundRect">
                    <a:avLst>
                      <a:gd name="adj" fmla="val 7023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39" name="îṡliḓe">
                    <a:extLst>
                      <a:ext uri="{FF2B5EF4-FFF2-40B4-BE49-F238E27FC236}">
                        <a16:creationId xmlns:a16="http://schemas.microsoft.com/office/drawing/2014/main" id="{9AFDF6F6-5203-42D6-8C4C-E3737A97AB7C}"/>
                      </a:ext>
                    </a:extLst>
                  </p:cNvPr>
                  <p:cNvSpPr/>
                  <p:nvPr/>
                </p:nvSpPr>
                <p:spPr>
                  <a:xfrm>
                    <a:off x="5804041" y="2273189"/>
                    <a:ext cx="632205" cy="632205"/>
                  </a:xfrm>
                  <a:prstGeom prst="roundRect">
                    <a:avLst>
                      <a:gd name="adj" fmla="val 10091"/>
                    </a:avLst>
                  </a:prstGeom>
                  <a:blipFill>
                    <a:blip r:embed="rId6"/>
                    <a:stretch>
                      <a:fillRect/>
                    </a:stretch>
                  </a:blip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</p:grpSp>
          </p:grpSp>
        </p:grpSp>
        <p:cxnSp>
          <p:nvCxnSpPr>
            <p:cNvPr id="49" name="îś1iḑê">
              <a:extLst>
                <a:ext uri="{FF2B5EF4-FFF2-40B4-BE49-F238E27FC236}">
                  <a16:creationId xmlns:a16="http://schemas.microsoft.com/office/drawing/2014/main" id="{C3A85DFC-ADF1-474C-BF81-0F72CD8A2D8A}"/>
                </a:ext>
              </a:extLst>
            </p:cNvPr>
            <p:cNvCxnSpPr/>
            <p:nvPr/>
          </p:nvCxnSpPr>
          <p:spPr>
            <a:xfrm>
              <a:off x="3007696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cxnSp>
          <p:nvCxnSpPr>
            <p:cNvPr id="50" name="î$liďè">
              <a:extLst>
                <a:ext uri="{FF2B5EF4-FFF2-40B4-BE49-F238E27FC236}">
                  <a16:creationId xmlns:a16="http://schemas.microsoft.com/office/drawing/2014/main" id="{9EA76247-2E45-497B-9699-23C3E298E518}"/>
                </a:ext>
              </a:extLst>
            </p:cNvPr>
            <p:cNvCxnSpPr/>
            <p:nvPr/>
          </p:nvCxnSpPr>
          <p:spPr>
            <a:xfrm>
              <a:off x="7247640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grpSp>
          <p:nvGrpSpPr>
            <p:cNvPr id="28" name="išļîďê">
              <a:extLst>
                <a:ext uri="{FF2B5EF4-FFF2-40B4-BE49-F238E27FC236}">
                  <a16:creationId xmlns:a16="http://schemas.microsoft.com/office/drawing/2014/main" id="{6E55B609-DF7B-4808-8F5D-EA3B33D46549}"/>
                </a:ext>
              </a:extLst>
            </p:cNvPr>
            <p:cNvGrpSpPr/>
            <p:nvPr/>
          </p:nvGrpSpPr>
          <p:grpSpPr>
            <a:xfrm>
              <a:off x="669926" y="1204895"/>
              <a:ext cx="1699443" cy="445784"/>
              <a:chOff x="669926" y="1204895"/>
              <a:chExt cx="1699443" cy="445784"/>
            </a:xfrm>
          </p:grpSpPr>
          <p:sp>
            <p:nvSpPr>
              <p:cNvPr id="40" name="isļïḍé">
                <a:extLst>
                  <a:ext uri="{FF2B5EF4-FFF2-40B4-BE49-F238E27FC236}">
                    <a16:creationId xmlns:a16="http://schemas.microsoft.com/office/drawing/2014/main" id="{F7A235F1-D186-4F8C-9E3D-0DB3AD5C3DA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69926" y="1204895"/>
                <a:ext cx="1699443" cy="4457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1" name="ïṣḻíḍé">
                <a:extLst>
                  <a:ext uri="{FF2B5EF4-FFF2-40B4-BE49-F238E27FC236}">
                    <a16:creationId xmlns:a16="http://schemas.microsoft.com/office/drawing/2014/main" id="{941C3095-FFD0-4B57-883A-2C237609F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473" y="1204895"/>
                <a:ext cx="444415" cy="445784"/>
              </a:xfrm>
              <a:custGeom>
                <a:avLst/>
                <a:gdLst>
                  <a:gd name="T0" fmla="*/ 344 w 687"/>
                  <a:gd name="T1" fmla="*/ 687 h 687"/>
                  <a:gd name="T2" fmla="*/ 344 w 687"/>
                  <a:gd name="T3" fmla="*/ 687 h 687"/>
                  <a:gd name="T4" fmla="*/ 0 w 687"/>
                  <a:gd name="T5" fmla="*/ 344 h 687"/>
                  <a:gd name="T6" fmla="*/ 0 w 687"/>
                  <a:gd name="T7" fmla="*/ 344 h 687"/>
                  <a:gd name="T8" fmla="*/ 344 w 687"/>
                  <a:gd name="T9" fmla="*/ 0 h 687"/>
                  <a:gd name="T10" fmla="*/ 344 w 687"/>
                  <a:gd name="T11" fmla="*/ 0 h 687"/>
                  <a:gd name="T12" fmla="*/ 687 w 687"/>
                  <a:gd name="T13" fmla="*/ 344 h 687"/>
                  <a:gd name="T14" fmla="*/ 687 w 687"/>
                  <a:gd name="T15" fmla="*/ 344 h 687"/>
                  <a:gd name="T16" fmla="*/ 344 w 687"/>
                  <a:gd name="T17" fmla="*/ 687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344" y="687"/>
                    </a:moveTo>
                    <a:cubicBezTo>
                      <a:pt x="344" y="687"/>
                      <a:pt x="344" y="687"/>
                      <a:pt x="344" y="687"/>
                    </a:cubicBezTo>
                    <a:cubicBezTo>
                      <a:pt x="155" y="687"/>
                      <a:pt x="0" y="533"/>
                      <a:pt x="0" y="344"/>
                    </a:cubicBezTo>
                    <a:cubicBezTo>
                      <a:pt x="0" y="344"/>
                      <a:pt x="0" y="344"/>
                      <a:pt x="0" y="344"/>
                    </a:cubicBezTo>
                    <a:cubicBezTo>
                      <a:pt x="0" y="155"/>
                      <a:pt x="155" y="0"/>
                      <a:pt x="344" y="0"/>
                    </a:cubicBezTo>
                    <a:cubicBezTo>
                      <a:pt x="344" y="0"/>
                      <a:pt x="344" y="0"/>
                      <a:pt x="344" y="0"/>
                    </a:cubicBezTo>
                    <a:cubicBezTo>
                      <a:pt x="533" y="0"/>
                      <a:pt x="687" y="155"/>
                      <a:pt x="687" y="344"/>
                    </a:cubicBezTo>
                    <a:cubicBezTo>
                      <a:pt x="687" y="344"/>
                      <a:pt x="687" y="344"/>
                      <a:pt x="687" y="344"/>
                    </a:cubicBezTo>
                    <a:cubicBezTo>
                      <a:pt x="687" y="533"/>
                      <a:pt x="533" y="687"/>
                      <a:pt x="344" y="68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2" name="išļïďè">
                <a:extLst>
                  <a:ext uri="{FF2B5EF4-FFF2-40B4-BE49-F238E27FC236}">
                    <a16:creationId xmlns:a16="http://schemas.microsoft.com/office/drawing/2014/main" id="{CC5E806E-76B1-4ABF-BEE7-23A937B981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0473" y="1204895"/>
                <a:ext cx="444415" cy="444417"/>
              </a:xfrm>
              <a:custGeom>
                <a:avLst/>
                <a:gdLst>
                  <a:gd name="T0" fmla="*/ 344 w 687"/>
                  <a:gd name="T1" fmla="*/ 0 h 685"/>
                  <a:gd name="T2" fmla="*/ 344 w 687"/>
                  <a:gd name="T3" fmla="*/ 0 h 685"/>
                  <a:gd name="T4" fmla="*/ 0 w 687"/>
                  <a:gd name="T5" fmla="*/ 344 h 685"/>
                  <a:gd name="T6" fmla="*/ 209 w 687"/>
                  <a:gd name="T7" fmla="*/ 659 h 685"/>
                  <a:gd name="T8" fmla="*/ 210 w 687"/>
                  <a:gd name="T9" fmla="*/ 648 h 685"/>
                  <a:gd name="T10" fmla="*/ 260 w 687"/>
                  <a:gd name="T11" fmla="*/ 402 h 685"/>
                  <a:gd name="T12" fmla="*/ 362 w 687"/>
                  <a:gd name="T13" fmla="*/ 334 h 685"/>
                  <a:gd name="T14" fmla="*/ 430 w 687"/>
                  <a:gd name="T15" fmla="*/ 436 h 685"/>
                  <a:gd name="T16" fmla="*/ 380 w 687"/>
                  <a:gd name="T17" fmla="*/ 682 h 685"/>
                  <a:gd name="T18" fmla="*/ 379 w 687"/>
                  <a:gd name="T19" fmla="*/ 685 h 685"/>
                  <a:gd name="T20" fmla="*/ 687 w 687"/>
                  <a:gd name="T21" fmla="*/ 344 h 685"/>
                  <a:gd name="T22" fmla="*/ 344 w 687"/>
                  <a:gd name="T23" fmla="*/ 0 h 685"/>
                  <a:gd name="T24" fmla="*/ 388 w 687"/>
                  <a:gd name="T25" fmla="*/ 293 h 685"/>
                  <a:gd name="T26" fmla="*/ 299 w 687"/>
                  <a:gd name="T27" fmla="*/ 204 h 685"/>
                  <a:gd name="T28" fmla="*/ 388 w 687"/>
                  <a:gd name="T29" fmla="*/ 115 h 685"/>
                  <a:gd name="T30" fmla="*/ 477 w 687"/>
                  <a:gd name="T31" fmla="*/ 204 h 685"/>
                  <a:gd name="T32" fmla="*/ 388 w 687"/>
                  <a:gd name="T33" fmla="*/ 293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87" h="685">
                    <a:moveTo>
                      <a:pt x="344" y="0"/>
                    </a:moveTo>
                    <a:cubicBezTo>
                      <a:pt x="344" y="0"/>
                      <a:pt x="344" y="0"/>
                      <a:pt x="344" y="0"/>
                    </a:cubicBezTo>
                    <a:cubicBezTo>
                      <a:pt x="155" y="0"/>
                      <a:pt x="0" y="155"/>
                      <a:pt x="0" y="344"/>
                    </a:cubicBezTo>
                    <a:cubicBezTo>
                      <a:pt x="0" y="485"/>
                      <a:pt x="86" y="607"/>
                      <a:pt x="209" y="659"/>
                    </a:cubicBezTo>
                    <a:cubicBezTo>
                      <a:pt x="209" y="656"/>
                      <a:pt x="209" y="652"/>
                      <a:pt x="210" y="648"/>
                    </a:cubicBezTo>
                    <a:cubicBezTo>
                      <a:pt x="260" y="402"/>
                      <a:pt x="260" y="402"/>
                      <a:pt x="260" y="402"/>
                    </a:cubicBezTo>
                    <a:cubicBezTo>
                      <a:pt x="269" y="355"/>
                      <a:pt x="315" y="325"/>
                      <a:pt x="362" y="334"/>
                    </a:cubicBezTo>
                    <a:cubicBezTo>
                      <a:pt x="409" y="344"/>
                      <a:pt x="439" y="390"/>
                      <a:pt x="430" y="436"/>
                    </a:cubicBezTo>
                    <a:cubicBezTo>
                      <a:pt x="380" y="682"/>
                      <a:pt x="380" y="682"/>
                      <a:pt x="380" y="682"/>
                    </a:cubicBezTo>
                    <a:cubicBezTo>
                      <a:pt x="379" y="684"/>
                      <a:pt x="379" y="684"/>
                      <a:pt x="379" y="685"/>
                    </a:cubicBezTo>
                    <a:cubicBezTo>
                      <a:pt x="551" y="668"/>
                      <a:pt x="687" y="521"/>
                      <a:pt x="687" y="344"/>
                    </a:cubicBezTo>
                    <a:cubicBezTo>
                      <a:pt x="687" y="155"/>
                      <a:pt x="533" y="0"/>
                      <a:pt x="344" y="0"/>
                    </a:cubicBezTo>
                    <a:close/>
                    <a:moveTo>
                      <a:pt x="388" y="293"/>
                    </a:moveTo>
                    <a:cubicBezTo>
                      <a:pt x="339" y="293"/>
                      <a:pt x="299" y="253"/>
                      <a:pt x="299" y="204"/>
                    </a:cubicBezTo>
                    <a:cubicBezTo>
                      <a:pt x="299" y="155"/>
                      <a:pt x="339" y="115"/>
                      <a:pt x="388" y="115"/>
                    </a:cubicBezTo>
                    <a:cubicBezTo>
                      <a:pt x="437" y="115"/>
                      <a:pt x="477" y="155"/>
                      <a:pt x="477" y="204"/>
                    </a:cubicBezTo>
                    <a:cubicBezTo>
                      <a:pt x="477" y="253"/>
                      <a:pt x="437" y="293"/>
                      <a:pt x="388" y="293"/>
                    </a:cubicBezTo>
                    <a:close/>
                  </a:path>
                </a:pathLst>
              </a:custGeom>
              <a:solidFill>
                <a:srgbClr val="CC4B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3" name="ïS1ïḑè">
                <a:extLst>
                  <a:ext uri="{FF2B5EF4-FFF2-40B4-BE49-F238E27FC236}">
                    <a16:creationId xmlns:a16="http://schemas.microsoft.com/office/drawing/2014/main" id="{FBA0A1B2-675D-40DD-9B20-019CEA484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6721" y="1281471"/>
                <a:ext cx="237933" cy="309587"/>
              </a:xfrm>
              <a:custGeom>
                <a:avLst/>
                <a:gdLst>
                  <a:gd name="T0" fmla="*/ 320 w 368"/>
                  <a:gd name="T1" fmla="*/ 141 h 477"/>
                  <a:gd name="T2" fmla="*/ 291 w 368"/>
                  <a:gd name="T3" fmla="*/ 119 h 477"/>
                  <a:gd name="T4" fmla="*/ 263 w 368"/>
                  <a:gd name="T5" fmla="*/ 77 h 477"/>
                  <a:gd name="T6" fmla="*/ 183 w 368"/>
                  <a:gd name="T7" fmla="*/ 54 h 477"/>
                  <a:gd name="T8" fmla="*/ 106 w 368"/>
                  <a:gd name="T9" fmla="*/ 72 h 477"/>
                  <a:gd name="T10" fmla="*/ 76 w 368"/>
                  <a:gd name="T11" fmla="*/ 123 h 477"/>
                  <a:gd name="T12" fmla="*/ 99 w 368"/>
                  <a:gd name="T13" fmla="*/ 168 h 477"/>
                  <a:gd name="T14" fmla="*/ 187 w 368"/>
                  <a:gd name="T15" fmla="*/ 197 h 477"/>
                  <a:gd name="T16" fmla="*/ 280 w 368"/>
                  <a:gd name="T17" fmla="*/ 223 h 477"/>
                  <a:gd name="T18" fmla="*/ 342 w 368"/>
                  <a:gd name="T19" fmla="*/ 264 h 477"/>
                  <a:gd name="T20" fmla="*/ 368 w 368"/>
                  <a:gd name="T21" fmla="*/ 339 h 477"/>
                  <a:gd name="T22" fmla="*/ 321 w 368"/>
                  <a:gd name="T23" fmla="*/ 438 h 477"/>
                  <a:gd name="T24" fmla="*/ 197 w 368"/>
                  <a:gd name="T25" fmla="*/ 477 h 477"/>
                  <a:gd name="T26" fmla="*/ 51 w 368"/>
                  <a:gd name="T27" fmla="*/ 434 h 477"/>
                  <a:gd name="T28" fmla="*/ 4 w 368"/>
                  <a:gd name="T29" fmla="*/ 351 h 477"/>
                  <a:gd name="T30" fmla="*/ 29 w 368"/>
                  <a:gd name="T31" fmla="*/ 318 h 477"/>
                  <a:gd name="T32" fmla="*/ 32 w 368"/>
                  <a:gd name="T33" fmla="*/ 318 h 477"/>
                  <a:gd name="T34" fmla="*/ 62 w 368"/>
                  <a:gd name="T35" fmla="*/ 340 h 477"/>
                  <a:gd name="T36" fmla="*/ 101 w 368"/>
                  <a:gd name="T37" fmla="*/ 397 h 477"/>
                  <a:gd name="T38" fmla="*/ 194 w 368"/>
                  <a:gd name="T39" fmla="*/ 422 h 477"/>
                  <a:gd name="T40" fmla="*/ 277 w 368"/>
                  <a:gd name="T41" fmla="*/ 401 h 477"/>
                  <a:gd name="T42" fmla="*/ 309 w 368"/>
                  <a:gd name="T43" fmla="*/ 343 h 477"/>
                  <a:gd name="T44" fmla="*/ 276 w 368"/>
                  <a:gd name="T45" fmla="*/ 288 h 477"/>
                  <a:gd name="T46" fmla="*/ 165 w 368"/>
                  <a:gd name="T47" fmla="*/ 254 h 477"/>
                  <a:gd name="T48" fmla="*/ 53 w 368"/>
                  <a:gd name="T49" fmla="*/ 207 h 477"/>
                  <a:gd name="T50" fmla="*/ 18 w 368"/>
                  <a:gd name="T51" fmla="*/ 127 h 477"/>
                  <a:gd name="T52" fmla="*/ 62 w 368"/>
                  <a:gd name="T53" fmla="*/ 36 h 477"/>
                  <a:gd name="T54" fmla="*/ 180 w 368"/>
                  <a:gd name="T55" fmla="*/ 0 h 477"/>
                  <a:gd name="T56" fmla="*/ 304 w 368"/>
                  <a:gd name="T57" fmla="*/ 36 h 477"/>
                  <a:gd name="T58" fmla="*/ 349 w 368"/>
                  <a:gd name="T59" fmla="*/ 108 h 477"/>
                  <a:gd name="T60" fmla="*/ 324 w 368"/>
                  <a:gd name="T61" fmla="*/ 140 h 477"/>
                  <a:gd name="T62" fmla="*/ 320 w 368"/>
                  <a:gd name="T63" fmla="*/ 141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68" h="477">
                    <a:moveTo>
                      <a:pt x="320" y="141"/>
                    </a:moveTo>
                    <a:cubicBezTo>
                      <a:pt x="306" y="142"/>
                      <a:pt x="294" y="133"/>
                      <a:pt x="291" y="119"/>
                    </a:cubicBezTo>
                    <a:cubicBezTo>
                      <a:pt x="286" y="101"/>
                      <a:pt x="276" y="87"/>
                      <a:pt x="263" y="77"/>
                    </a:cubicBezTo>
                    <a:cubicBezTo>
                      <a:pt x="244" y="62"/>
                      <a:pt x="218" y="54"/>
                      <a:pt x="183" y="54"/>
                    </a:cubicBezTo>
                    <a:cubicBezTo>
                      <a:pt x="151" y="54"/>
                      <a:pt x="126" y="60"/>
                      <a:pt x="106" y="72"/>
                    </a:cubicBezTo>
                    <a:cubicBezTo>
                      <a:pt x="86" y="84"/>
                      <a:pt x="76" y="101"/>
                      <a:pt x="76" y="123"/>
                    </a:cubicBezTo>
                    <a:cubicBezTo>
                      <a:pt x="76" y="143"/>
                      <a:pt x="84" y="158"/>
                      <a:pt x="99" y="168"/>
                    </a:cubicBezTo>
                    <a:cubicBezTo>
                      <a:pt x="114" y="178"/>
                      <a:pt x="144" y="187"/>
                      <a:pt x="187" y="197"/>
                    </a:cubicBezTo>
                    <a:cubicBezTo>
                      <a:pt x="225" y="205"/>
                      <a:pt x="256" y="214"/>
                      <a:pt x="280" y="223"/>
                    </a:cubicBezTo>
                    <a:cubicBezTo>
                      <a:pt x="304" y="232"/>
                      <a:pt x="325" y="245"/>
                      <a:pt x="342" y="264"/>
                    </a:cubicBezTo>
                    <a:cubicBezTo>
                      <a:pt x="359" y="283"/>
                      <a:pt x="368" y="307"/>
                      <a:pt x="368" y="339"/>
                    </a:cubicBezTo>
                    <a:cubicBezTo>
                      <a:pt x="368" y="378"/>
                      <a:pt x="352" y="411"/>
                      <a:pt x="321" y="438"/>
                    </a:cubicBezTo>
                    <a:cubicBezTo>
                      <a:pt x="289" y="464"/>
                      <a:pt x="248" y="477"/>
                      <a:pt x="197" y="477"/>
                    </a:cubicBezTo>
                    <a:cubicBezTo>
                      <a:pt x="132" y="477"/>
                      <a:pt x="84" y="462"/>
                      <a:pt x="51" y="434"/>
                    </a:cubicBezTo>
                    <a:cubicBezTo>
                      <a:pt x="26" y="411"/>
                      <a:pt x="11" y="384"/>
                      <a:pt x="4" y="351"/>
                    </a:cubicBezTo>
                    <a:cubicBezTo>
                      <a:pt x="0" y="335"/>
                      <a:pt x="13" y="320"/>
                      <a:pt x="29" y="318"/>
                    </a:cubicBezTo>
                    <a:cubicBezTo>
                      <a:pt x="32" y="318"/>
                      <a:pt x="32" y="318"/>
                      <a:pt x="32" y="318"/>
                    </a:cubicBezTo>
                    <a:cubicBezTo>
                      <a:pt x="46" y="317"/>
                      <a:pt x="58" y="326"/>
                      <a:pt x="62" y="340"/>
                    </a:cubicBezTo>
                    <a:cubicBezTo>
                      <a:pt x="68" y="365"/>
                      <a:pt x="81" y="384"/>
                      <a:pt x="101" y="397"/>
                    </a:cubicBezTo>
                    <a:cubicBezTo>
                      <a:pt x="127" y="413"/>
                      <a:pt x="158" y="422"/>
                      <a:pt x="194" y="422"/>
                    </a:cubicBezTo>
                    <a:cubicBezTo>
                      <a:pt x="229" y="422"/>
                      <a:pt x="256" y="415"/>
                      <a:pt x="277" y="401"/>
                    </a:cubicBezTo>
                    <a:cubicBezTo>
                      <a:pt x="298" y="387"/>
                      <a:pt x="309" y="368"/>
                      <a:pt x="309" y="343"/>
                    </a:cubicBezTo>
                    <a:cubicBezTo>
                      <a:pt x="309" y="318"/>
                      <a:pt x="298" y="300"/>
                      <a:pt x="276" y="288"/>
                    </a:cubicBezTo>
                    <a:cubicBezTo>
                      <a:pt x="254" y="277"/>
                      <a:pt x="217" y="265"/>
                      <a:pt x="165" y="254"/>
                    </a:cubicBezTo>
                    <a:cubicBezTo>
                      <a:pt x="113" y="243"/>
                      <a:pt x="76" y="227"/>
                      <a:pt x="53" y="207"/>
                    </a:cubicBezTo>
                    <a:cubicBezTo>
                      <a:pt x="30" y="186"/>
                      <a:pt x="18" y="160"/>
                      <a:pt x="18" y="127"/>
                    </a:cubicBezTo>
                    <a:cubicBezTo>
                      <a:pt x="18" y="90"/>
                      <a:pt x="33" y="60"/>
                      <a:pt x="62" y="36"/>
                    </a:cubicBezTo>
                    <a:cubicBezTo>
                      <a:pt x="91" y="12"/>
                      <a:pt x="130" y="0"/>
                      <a:pt x="180" y="0"/>
                    </a:cubicBezTo>
                    <a:cubicBezTo>
                      <a:pt x="231" y="0"/>
                      <a:pt x="273" y="12"/>
                      <a:pt x="304" y="36"/>
                    </a:cubicBezTo>
                    <a:cubicBezTo>
                      <a:pt x="327" y="54"/>
                      <a:pt x="343" y="78"/>
                      <a:pt x="349" y="108"/>
                    </a:cubicBezTo>
                    <a:cubicBezTo>
                      <a:pt x="353" y="124"/>
                      <a:pt x="341" y="139"/>
                      <a:pt x="324" y="140"/>
                    </a:cubicBezTo>
                    <a:lnTo>
                      <a:pt x="320" y="141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4" name="ïŝľíḋê">
                <a:extLst>
                  <a:ext uri="{FF2B5EF4-FFF2-40B4-BE49-F238E27FC236}">
                    <a16:creationId xmlns:a16="http://schemas.microsoft.com/office/drawing/2014/main" id="{8895173D-9045-411E-B47E-7FD23A132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3608" y="1286121"/>
                <a:ext cx="36921" cy="299742"/>
              </a:xfrm>
              <a:custGeom>
                <a:avLst/>
                <a:gdLst>
                  <a:gd name="T0" fmla="*/ 29 w 57"/>
                  <a:gd name="T1" fmla="*/ 462 h 462"/>
                  <a:gd name="T2" fmla="*/ 29 w 57"/>
                  <a:gd name="T3" fmla="*/ 462 h 462"/>
                  <a:gd name="T4" fmla="*/ 0 w 57"/>
                  <a:gd name="T5" fmla="*/ 434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434 h 462"/>
                  <a:gd name="T16" fmla="*/ 29 w 57"/>
                  <a:gd name="T17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462"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5" name="îšľîďé">
                <a:extLst>
                  <a:ext uri="{FF2B5EF4-FFF2-40B4-BE49-F238E27FC236}">
                    <a16:creationId xmlns:a16="http://schemas.microsoft.com/office/drawing/2014/main" id="{0A1E4CE6-4E33-4BA6-9D4F-22B8D5940A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96867" y="1286121"/>
                <a:ext cx="36100" cy="299742"/>
              </a:xfrm>
              <a:custGeom>
                <a:avLst/>
                <a:gdLst>
                  <a:gd name="T0" fmla="*/ 28 w 56"/>
                  <a:gd name="T1" fmla="*/ 65 h 462"/>
                  <a:gd name="T2" fmla="*/ 28 w 56"/>
                  <a:gd name="T3" fmla="*/ 65 h 462"/>
                  <a:gd name="T4" fmla="*/ 0 w 56"/>
                  <a:gd name="T5" fmla="*/ 36 h 462"/>
                  <a:gd name="T6" fmla="*/ 0 w 56"/>
                  <a:gd name="T7" fmla="*/ 29 h 462"/>
                  <a:gd name="T8" fmla="*/ 28 w 56"/>
                  <a:gd name="T9" fmla="*/ 0 h 462"/>
                  <a:gd name="T10" fmla="*/ 28 w 56"/>
                  <a:gd name="T11" fmla="*/ 0 h 462"/>
                  <a:gd name="T12" fmla="*/ 56 w 56"/>
                  <a:gd name="T13" fmla="*/ 29 h 462"/>
                  <a:gd name="T14" fmla="*/ 56 w 56"/>
                  <a:gd name="T15" fmla="*/ 36 h 462"/>
                  <a:gd name="T16" fmla="*/ 28 w 56"/>
                  <a:gd name="T17" fmla="*/ 65 h 462"/>
                  <a:gd name="T18" fmla="*/ 28 w 56"/>
                  <a:gd name="T19" fmla="*/ 462 h 462"/>
                  <a:gd name="T20" fmla="*/ 28 w 56"/>
                  <a:gd name="T21" fmla="*/ 462 h 462"/>
                  <a:gd name="T22" fmla="*/ 0 w 56"/>
                  <a:gd name="T23" fmla="*/ 434 h 462"/>
                  <a:gd name="T24" fmla="*/ 0 w 56"/>
                  <a:gd name="T25" fmla="*/ 156 h 462"/>
                  <a:gd name="T26" fmla="*/ 28 w 56"/>
                  <a:gd name="T27" fmla="*/ 128 h 462"/>
                  <a:gd name="T28" fmla="*/ 28 w 56"/>
                  <a:gd name="T29" fmla="*/ 128 h 462"/>
                  <a:gd name="T30" fmla="*/ 56 w 56"/>
                  <a:gd name="T31" fmla="*/ 156 h 462"/>
                  <a:gd name="T32" fmla="*/ 56 w 56"/>
                  <a:gd name="T33" fmla="*/ 434 h 462"/>
                  <a:gd name="T34" fmla="*/ 28 w 56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6" h="462">
                    <a:moveTo>
                      <a:pt x="28" y="65"/>
                    </a:moveTo>
                    <a:cubicBezTo>
                      <a:pt x="28" y="65"/>
                      <a:pt x="28" y="65"/>
                      <a:pt x="28" y="65"/>
                    </a:cubicBezTo>
                    <a:cubicBezTo>
                      <a:pt x="12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2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44" y="0"/>
                      <a:pt x="56" y="13"/>
                      <a:pt x="56" y="29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52"/>
                      <a:pt x="44" y="65"/>
                      <a:pt x="28" y="65"/>
                    </a:cubicBezTo>
                    <a:close/>
                    <a:moveTo>
                      <a:pt x="28" y="462"/>
                    </a:moveTo>
                    <a:cubicBezTo>
                      <a:pt x="28" y="462"/>
                      <a:pt x="28" y="462"/>
                      <a:pt x="28" y="462"/>
                    </a:cubicBezTo>
                    <a:cubicBezTo>
                      <a:pt x="12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2" y="128"/>
                      <a:pt x="28" y="128"/>
                    </a:cubicBezTo>
                    <a:cubicBezTo>
                      <a:pt x="28" y="128"/>
                      <a:pt x="28" y="128"/>
                      <a:pt x="28" y="128"/>
                    </a:cubicBezTo>
                    <a:cubicBezTo>
                      <a:pt x="44" y="128"/>
                      <a:pt x="56" y="141"/>
                      <a:pt x="56" y="156"/>
                    </a:cubicBezTo>
                    <a:cubicBezTo>
                      <a:pt x="56" y="434"/>
                      <a:pt x="56" y="434"/>
                      <a:pt x="56" y="434"/>
                    </a:cubicBezTo>
                    <a:cubicBezTo>
                      <a:pt x="56" y="449"/>
                      <a:pt x="44" y="462"/>
                      <a:pt x="28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6" name="íŝḻíḍe">
                <a:extLst>
                  <a:ext uri="{FF2B5EF4-FFF2-40B4-BE49-F238E27FC236}">
                    <a16:creationId xmlns:a16="http://schemas.microsoft.com/office/drawing/2014/main" id="{53805563-2D7C-487B-AB41-2ABCDF5A2D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5222" y="1286121"/>
                <a:ext cx="36647" cy="299742"/>
              </a:xfrm>
              <a:custGeom>
                <a:avLst/>
                <a:gdLst>
                  <a:gd name="T0" fmla="*/ 29 w 57"/>
                  <a:gd name="T1" fmla="*/ 65 h 462"/>
                  <a:gd name="T2" fmla="*/ 29 w 57"/>
                  <a:gd name="T3" fmla="*/ 65 h 462"/>
                  <a:gd name="T4" fmla="*/ 0 w 57"/>
                  <a:gd name="T5" fmla="*/ 36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36 h 462"/>
                  <a:gd name="T16" fmla="*/ 29 w 57"/>
                  <a:gd name="T17" fmla="*/ 65 h 462"/>
                  <a:gd name="T18" fmla="*/ 29 w 57"/>
                  <a:gd name="T19" fmla="*/ 462 h 462"/>
                  <a:gd name="T20" fmla="*/ 29 w 57"/>
                  <a:gd name="T21" fmla="*/ 462 h 462"/>
                  <a:gd name="T22" fmla="*/ 0 w 57"/>
                  <a:gd name="T23" fmla="*/ 434 h 462"/>
                  <a:gd name="T24" fmla="*/ 0 w 57"/>
                  <a:gd name="T25" fmla="*/ 156 h 462"/>
                  <a:gd name="T26" fmla="*/ 29 w 57"/>
                  <a:gd name="T27" fmla="*/ 128 h 462"/>
                  <a:gd name="T28" fmla="*/ 29 w 57"/>
                  <a:gd name="T29" fmla="*/ 128 h 462"/>
                  <a:gd name="T30" fmla="*/ 57 w 57"/>
                  <a:gd name="T31" fmla="*/ 156 h 462"/>
                  <a:gd name="T32" fmla="*/ 57 w 57"/>
                  <a:gd name="T33" fmla="*/ 434 h 462"/>
                  <a:gd name="T34" fmla="*/ 29 w 57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462">
                    <a:moveTo>
                      <a:pt x="29" y="65"/>
                    </a:moveTo>
                    <a:cubicBezTo>
                      <a:pt x="29" y="65"/>
                      <a:pt x="29" y="65"/>
                      <a:pt x="29" y="65"/>
                    </a:cubicBezTo>
                    <a:cubicBezTo>
                      <a:pt x="13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7" y="52"/>
                      <a:pt x="44" y="65"/>
                      <a:pt x="29" y="65"/>
                    </a:cubicBezTo>
                    <a:close/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3" y="128"/>
                      <a:pt x="29" y="128"/>
                    </a:cubicBezTo>
                    <a:cubicBezTo>
                      <a:pt x="29" y="128"/>
                      <a:pt x="29" y="128"/>
                      <a:pt x="29" y="128"/>
                    </a:cubicBezTo>
                    <a:cubicBezTo>
                      <a:pt x="44" y="128"/>
                      <a:pt x="57" y="141"/>
                      <a:pt x="57" y="156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7" name="ï$ḷîde">
                <a:extLst>
                  <a:ext uri="{FF2B5EF4-FFF2-40B4-BE49-F238E27FC236}">
                    <a16:creationId xmlns:a16="http://schemas.microsoft.com/office/drawing/2014/main" id="{F5B09A70-BD5C-4AEC-8E34-1AB2A86C5B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76451" y="1286121"/>
                <a:ext cx="187338" cy="304938"/>
              </a:xfrm>
              <a:custGeom>
                <a:avLst/>
                <a:gdLst>
                  <a:gd name="T0" fmla="*/ 264 w 290"/>
                  <a:gd name="T1" fmla="*/ 462 h 470"/>
                  <a:gd name="T2" fmla="*/ 264 w 290"/>
                  <a:gd name="T3" fmla="*/ 462 h 470"/>
                  <a:gd name="T4" fmla="*/ 237 w 290"/>
                  <a:gd name="T5" fmla="*/ 436 h 470"/>
                  <a:gd name="T6" fmla="*/ 237 w 290"/>
                  <a:gd name="T7" fmla="*/ 420 h 470"/>
                  <a:gd name="T8" fmla="*/ 236 w 290"/>
                  <a:gd name="T9" fmla="*/ 420 h 470"/>
                  <a:gd name="T10" fmla="*/ 144 w 290"/>
                  <a:gd name="T11" fmla="*/ 470 h 470"/>
                  <a:gd name="T12" fmla="*/ 41 w 290"/>
                  <a:gd name="T13" fmla="*/ 421 h 470"/>
                  <a:gd name="T14" fmla="*/ 0 w 290"/>
                  <a:gd name="T15" fmla="*/ 295 h 470"/>
                  <a:gd name="T16" fmla="*/ 39 w 290"/>
                  <a:gd name="T17" fmla="*/ 167 h 470"/>
                  <a:gd name="T18" fmla="*/ 141 w 290"/>
                  <a:gd name="T19" fmla="*/ 120 h 470"/>
                  <a:gd name="T20" fmla="*/ 232 w 290"/>
                  <a:gd name="T21" fmla="*/ 166 h 470"/>
                  <a:gd name="T22" fmla="*/ 234 w 290"/>
                  <a:gd name="T23" fmla="*/ 166 h 470"/>
                  <a:gd name="T24" fmla="*/ 234 w 290"/>
                  <a:gd name="T25" fmla="*/ 27 h 470"/>
                  <a:gd name="T26" fmla="*/ 260 w 290"/>
                  <a:gd name="T27" fmla="*/ 0 h 470"/>
                  <a:gd name="T28" fmla="*/ 264 w 290"/>
                  <a:gd name="T29" fmla="*/ 0 h 470"/>
                  <a:gd name="T30" fmla="*/ 290 w 290"/>
                  <a:gd name="T31" fmla="*/ 27 h 470"/>
                  <a:gd name="T32" fmla="*/ 290 w 290"/>
                  <a:gd name="T33" fmla="*/ 436 h 470"/>
                  <a:gd name="T34" fmla="*/ 264 w 290"/>
                  <a:gd name="T35" fmla="*/ 462 h 470"/>
                  <a:gd name="T36" fmla="*/ 150 w 290"/>
                  <a:gd name="T37" fmla="*/ 423 h 470"/>
                  <a:gd name="T38" fmla="*/ 213 w 290"/>
                  <a:gd name="T39" fmla="*/ 393 h 470"/>
                  <a:gd name="T40" fmla="*/ 239 w 290"/>
                  <a:gd name="T41" fmla="*/ 300 h 470"/>
                  <a:gd name="T42" fmla="*/ 215 w 290"/>
                  <a:gd name="T43" fmla="*/ 203 h 470"/>
                  <a:gd name="T44" fmla="*/ 147 w 290"/>
                  <a:gd name="T45" fmla="*/ 167 h 470"/>
                  <a:gd name="T46" fmla="*/ 81 w 290"/>
                  <a:gd name="T47" fmla="*/ 202 h 470"/>
                  <a:gd name="T48" fmla="*/ 58 w 290"/>
                  <a:gd name="T49" fmla="*/ 295 h 470"/>
                  <a:gd name="T50" fmla="*/ 70 w 290"/>
                  <a:gd name="T51" fmla="*/ 366 h 470"/>
                  <a:gd name="T52" fmla="*/ 104 w 290"/>
                  <a:gd name="T53" fmla="*/ 409 h 470"/>
                  <a:gd name="T54" fmla="*/ 150 w 290"/>
                  <a:gd name="T55" fmla="*/ 423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0" h="470">
                    <a:moveTo>
                      <a:pt x="264" y="462"/>
                    </a:moveTo>
                    <a:cubicBezTo>
                      <a:pt x="264" y="462"/>
                      <a:pt x="264" y="462"/>
                      <a:pt x="264" y="462"/>
                    </a:cubicBezTo>
                    <a:cubicBezTo>
                      <a:pt x="249" y="462"/>
                      <a:pt x="237" y="450"/>
                      <a:pt x="237" y="436"/>
                    </a:cubicBezTo>
                    <a:cubicBezTo>
                      <a:pt x="237" y="420"/>
                      <a:pt x="237" y="420"/>
                      <a:pt x="237" y="420"/>
                    </a:cubicBezTo>
                    <a:cubicBezTo>
                      <a:pt x="236" y="420"/>
                      <a:pt x="236" y="420"/>
                      <a:pt x="236" y="420"/>
                    </a:cubicBezTo>
                    <a:cubicBezTo>
                      <a:pt x="216" y="453"/>
                      <a:pt x="185" y="470"/>
                      <a:pt x="144" y="470"/>
                    </a:cubicBezTo>
                    <a:cubicBezTo>
                      <a:pt x="103" y="470"/>
                      <a:pt x="69" y="454"/>
                      <a:pt x="41" y="421"/>
                    </a:cubicBezTo>
                    <a:cubicBezTo>
                      <a:pt x="14" y="389"/>
                      <a:pt x="0" y="347"/>
                      <a:pt x="0" y="295"/>
                    </a:cubicBezTo>
                    <a:cubicBezTo>
                      <a:pt x="0" y="241"/>
                      <a:pt x="13" y="199"/>
                      <a:pt x="39" y="167"/>
                    </a:cubicBezTo>
                    <a:cubicBezTo>
                      <a:pt x="65" y="136"/>
                      <a:pt x="99" y="120"/>
                      <a:pt x="141" y="120"/>
                    </a:cubicBezTo>
                    <a:cubicBezTo>
                      <a:pt x="181" y="120"/>
                      <a:pt x="212" y="136"/>
                      <a:pt x="232" y="166"/>
                    </a:cubicBezTo>
                    <a:cubicBezTo>
                      <a:pt x="234" y="166"/>
                      <a:pt x="234" y="166"/>
                      <a:pt x="234" y="166"/>
                    </a:cubicBezTo>
                    <a:cubicBezTo>
                      <a:pt x="234" y="27"/>
                      <a:pt x="234" y="27"/>
                      <a:pt x="234" y="27"/>
                    </a:cubicBezTo>
                    <a:cubicBezTo>
                      <a:pt x="234" y="12"/>
                      <a:pt x="245" y="0"/>
                      <a:pt x="260" y="0"/>
                    </a:cubicBezTo>
                    <a:cubicBezTo>
                      <a:pt x="264" y="0"/>
                      <a:pt x="264" y="0"/>
                      <a:pt x="264" y="0"/>
                    </a:cubicBezTo>
                    <a:cubicBezTo>
                      <a:pt x="278" y="0"/>
                      <a:pt x="290" y="12"/>
                      <a:pt x="290" y="27"/>
                    </a:cubicBezTo>
                    <a:cubicBezTo>
                      <a:pt x="290" y="436"/>
                      <a:pt x="290" y="436"/>
                      <a:pt x="290" y="436"/>
                    </a:cubicBezTo>
                    <a:cubicBezTo>
                      <a:pt x="290" y="450"/>
                      <a:pt x="278" y="462"/>
                      <a:pt x="264" y="462"/>
                    </a:cubicBezTo>
                    <a:close/>
                    <a:moveTo>
                      <a:pt x="150" y="423"/>
                    </a:moveTo>
                    <a:cubicBezTo>
                      <a:pt x="175" y="423"/>
                      <a:pt x="196" y="413"/>
                      <a:pt x="213" y="393"/>
                    </a:cubicBezTo>
                    <a:cubicBezTo>
                      <a:pt x="230" y="372"/>
                      <a:pt x="239" y="342"/>
                      <a:pt x="239" y="300"/>
                    </a:cubicBezTo>
                    <a:cubicBezTo>
                      <a:pt x="239" y="260"/>
                      <a:pt x="231" y="227"/>
                      <a:pt x="215" y="203"/>
                    </a:cubicBezTo>
                    <a:cubicBezTo>
                      <a:pt x="199" y="179"/>
                      <a:pt x="177" y="167"/>
                      <a:pt x="147" y="167"/>
                    </a:cubicBezTo>
                    <a:cubicBezTo>
                      <a:pt x="118" y="167"/>
                      <a:pt x="96" y="178"/>
                      <a:pt x="81" y="202"/>
                    </a:cubicBezTo>
                    <a:cubicBezTo>
                      <a:pt x="66" y="226"/>
                      <a:pt x="58" y="257"/>
                      <a:pt x="58" y="295"/>
                    </a:cubicBezTo>
                    <a:cubicBezTo>
                      <a:pt x="58" y="323"/>
                      <a:pt x="62" y="346"/>
                      <a:pt x="70" y="366"/>
                    </a:cubicBezTo>
                    <a:cubicBezTo>
                      <a:pt x="78" y="385"/>
                      <a:pt x="90" y="399"/>
                      <a:pt x="104" y="409"/>
                    </a:cubicBezTo>
                    <a:cubicBezTo>
                      <a:pt x="119" y="419"/>
                      <a:pt x="134" y="423"/>
                      <a:pt x="150" y="423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8" name="îṡḻiḑê">
                <a:extLst>
                  <a:ext uri="{FF2B5EF4-FFF2-40B4-BE49-F238E27FC236}">
                    <a16:creationId xmlns:a16="http://schemas.microsoft.com/office/drawing/2014/main" id="{3776C0FC-51B4-43E9-A802-9FD933C30A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735" y="1363791"/>
                <a:ext cx="199371" cy="227268"/>
              </a:xfrm>
              <a:custGeom>
                <a:avLst/>
                <a:gdLst>
                  <a:gd name="T0" fmla="*/ 280 w 308"/>
                  <a:gd name="T1" fmla="*/ 189 h 350"/>
                  <a:gd name="T2" fmla="*/ 68 w 308"/>
                  <a:gd name="T3" fmla="*/ 189 h 350"/>
                  <a:gd name="T4" fmla="*/ 59 w 308"/>
                  <a:gd name="T5" fmla="*/ 200 h 350"/>
                  <a:gd name="T6" fmla="*/ 89 w 308"/>
                  <a:gd name="T7" fmla="*/ 274 h 350"/>
                  <a:gd name="T8" fmla="*/ 160 w 308"/>
                  <a:gd name="T9" fmla="*/ 303 h 350"/>
                  <a:gd name="T10" fmla="*/ 214 w 308"/>
                  <a:gd name="T11" fmla="*/ 286 h 350"/>
                  <a:gd name="T12" fmla="*/ 239 w 308"/>
                  <a:gd name="T13" fmla="*/ 255 h 350"/>
                  <a:gd name="T14" fmla="*/ 272 w 308"/>
                  <a:gd name="T15" fmla="*/ 237 h 350"/>
                  <a:gd name="T16" fmla="*/ 272 w 308"/>
                  <a:gd name="T17" fmla="*/ 237 h 350"/>
                  <a:gd name="T18" fmla="*/ 293 w 308"/>
                  <a:gd name="T19" fmla="*/ 277 h 350"/>
                  <a:gd name="T20" fmla="*/ 254 w 308"/>
                  <a:gd name="T21" fmla="*/ 322 h 350"/>
                  <a:gd name="T22" fmla="*/ 160 w 308"/>
                  <a:gd name="T23" fmla="*/ 350 h 350"/>
                  <a:gd name="T24" fmla="*/ 42 w 308"/>
                  <a:gd name="T25" fmla="*/ 304 h 350"/>
                  <a:gd name="T26" fmla="*/ 0 w 308"/>
                  <a:gd name="T27" fmla="*/ 178 h 350"/>
                  <a:gd name="T28" fmla="*/ 41 w 308"/>
                  <a:gd name="T29" fmla="*/ 50 h 350"/>
                  <a:gd name="T30" fmla="*/ 157 w 308"/>
                  <a:gd name="T31" fmla="*/ 0 h 350"/>
                  <a:gd name="T32" fmla="*/ 227 w 308"/>
                  <a:gd name="T33" fmla="*/ 16 h 350"/>
                  <a:gd name="T34" fmla="*/ 284 w 308"/>
                  <a:gd name="T35" fmla="*/ 71 h 350"/>
                  <a:gd name="T36" fmla="*/ 307 w 308"/>
                  <a:gd name="T37" fmla="*/ 161 h 350"/>
                  <a:gd name="T38" fmla="*/ 280 w 308"/>
                  <a:gd name="T39" fmla="*/ 189 h 350"/>
                  <a:gd name="T40" fmla="*/ 245 w 308"/>
                  <a:gd name="T41" fmla="*/ 143 h 350"/>
                  <a:gd name="T42" fmla="*/ 249 w 308"/>
                  <a:gd name="T43" fmla="*/ 137 h 350"/>
                  <a:gd name="T44" fmla="*/ 218 w 308"/>
                  <a:gd name="T45" fmla="*/ 69 h 350"/>
                  <a:gd name="T46" fmla="*/ 157 w 308"/>
                  <a:gd name="T47" fmla="*/ 47 h 350"/>
                  <a:gd name="T48" fmla="*/ 91 w 308"/>
                  <a:gd name="T49" fmla="*/ 73 h 350"/>
                  <a:gd name="T50" fmla="*/ 63 w 308"/>
                  <a:gd name="T51" fmla="*/ 127 h 350"/>
                  <a:gd name="T52" fmla="*/ 75 w 308"/>
                  <a:gd name="T53" fmla="*/ 143 h 350"/>
                  <a:gd name="T54" fmla="*/ 245 w 308"/>
                  <a:gd name="T55" fmla="*/ 143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08" h="350">
                    <a:moveTo>
                      <a:pt x="280" y="189"/>
                    </a:moveTo>
                    <a:cubicBezTo>
                      <a:pt x="68" y="189"/>
                      <a:pt x="68" y="189"/>
                      <a:pt x="68" y="189"/>
                    </a:cubicBezTo>
                    <a:cubicBezTo>
                      <a:pt x="63" y="189"/>
                      <a:pt x="58" y="194"/>
                      <a:pt x="59" y="200"/>
                    </a:cubicBezTo>
                    <a:cubicBezTo>
                      <a:pt x="62" y="232"/>
                      <a:pt x="72" y="256"/>
                      <a:pt x="89" y="274"/>
                    </a:cubicBezTo>
                    <a:cubicBezTo>
                      <a:pt x="108" y="294"/>
                      <a:pt x="132" y="303"/>
                      <a:pt x="160" y="303"/>
                    </a:cubicBezTo>
                    <a:cubicBezTo>
                      <a:pt x="181" y="303"/>
                      <a:pt x="200" y="298"/>
                      <a:pt x="214" y="286"/>
                    </a:cubicBezTo>
                    <a:cubicBezTo>
                      <a:pt x="224" y="278"/>
                      <a:pt x="232" y="268"/>
                      <a:pt x="239" y="255"/>
                    </a:cubicBezTo>
                    <a:cubicBezTo>
                      <a:pt x="246" y="243"/>
                      <a:pt x="258" y="236"/>
                      <a:pt x="272" y="237"/>
                    </a:cubicBezTo>
                    <a:cubicBezTo>
                      <a:pt x="272" y="237"/>
                      <a:pt x="272" y="237"/>
                      <a:pt x="272" y="237"/>
                    </a:cubicBezTo>
                    <a:cubicBezTo>
                      <a:pt x="291" y="240"/>
                      <a:pt x="301" y="260"/>
                      <a:pt x="293" y="277"/>
                    </a:cubicBezTo>
                    <a:cubicBezTo>
                      <a:pt x="283" y="295"/>
                      <a:pt x="270" y="310"/>
                      <a:pt x="254" y="322"/>
                    </a:cubicBezTo>
                    <a:cubicBezTo>
                      <a:pt x="229" y="341"/>
                      <a:pt x="198" y="350"/>
                      <a:pt x="160" y="350"/>
                    </a:cubicBezTo>
                    <a:cubicBezTo>
                      <a:pt x="110" y="350"/>
                      <a:pt x="70" y="335"/>
                      <a:pt x="42" y="304"/>
                    </a:cubicBezTo>
                    <a:cubicBezTo>
                      <a:pt x="14" y="273"/>
                      <a:pt x="0" y="231"/>
                      <a:pt x="0" y="178"/>
                    </a:cubicBezTo>
                    <a:cubicBezTo>
                      <a:pt x="0" y="125"/>
                      <a:pt x="13" y="82"/>
                      <a:pt x="41" y="50"/>
                    </a:cubicBezTo>
                    <a:cubicBezTo>
                      <a:pt x="68" y="17"/>
                      <a:pt x="107" y="0"/>
                      <a:pt x="157" y="0"/>
                    </a:cubicBezTo>
                    <a:cubicBezTo>
                      <a:pt x="181" y="0"/>
                      <a:pt x="204" y="6"/>
                      <a:pt x="227" y="16"/>
                    </a:cubicBezTo>
                    <a:cubicBezTo>
                      <a:pt x="250" y="27"/>
                      <a:pt x="269" y="45"/>
                      <a:pt x="284" y="71"/>
                    </a:cubicBezTo>
                    <a:cubicBezTo>
                      <a:pt x="297" y="92"/>
                      <a:pt x="305" y="122"/>
                      <a:pt x="307" y="161"/>
                    </a:cubicBezTo>
                    <a:cubicBezTo>
                      <a:pt x="308" y="176"/>
                      <a:pt x="296" y="189"/>
                      <a:pt x="280" y="189"/>
                    </a:cubicBezTo>
                    <a:close/>
                    <a:moveTo>
                      <a:pt x="245" y="143"/>
                    </a:moveTo>
                    <a:cubicBezTo>
                      <a:pt x="247" y="143"/>
                      <a:pt x="250" y="140"/>
                      <a:pt x="249" y="137"/>
                    </a:cubicBezTo>
                    <a:cubicBezTo>
                      <a:pt x="246" y="106"/>
                      <a:pt x="236" y="83"/>
                      <a:pt x="218" y="69"/>
                    </a:cubicBezTo>
                    <a:cubicBezTo>
                      <a:pt x="199" y="54"/>
                      <a:pt x="179" y="47"/>
                      <a:pt x="157" y="47"/>
                    </a:cubicBezTo>
                    <a:cubicBezTo>
                      <a:pt x="130" y="47"/>
                      <a:pt x="108" y="56"/>
                      <a:pt x="91" y="73"/>
                    </a:cubicBezTo>
                    <a:cubicBezTo>
                      <a:pt x="77" y="88"/>
                      <a:pt x="68" y="106"/>
                      <a:pt x="63" y="127"/>
                    </a:cubicBezTo>
                    <a:cubicBezTo>
                      <a:pt x="62" y="135"/>
                      <a:pt x="67" y="143"/>
                      <a:pt x="75" y="143"/>
                    </a:cubicBezTo>
                    <a:lnTo>
                      <a:pt x="245" y="143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61072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e4636024-402e-49b1-8967-9e5abae8a87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2" val="iSlide，让PPT设计简单起来！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F6C66"/>
      </a:accent1>
      <a:accent2>
        <a:srgbClr val="40FFFF"/>
      </a:accent2>
      <a:accent3>
        <a:srgbClr val="384452"/>
      </a:accent3>
      <a:accent4>
        <a:srgbClr val="629BB6"/>
      </a:accent4>
      <a:accent5>
        <a:srgbClr val="C65464"/>
      </a:accent5>
      <a:accent6>
        <a:srgbClr val="E4FFFF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4636024-402e-49b1-8967-9e5abae8a87c-16x9" id="{27DBD1F1-4117-1742-88FA-D07255536AAD}" vid="{2733B580-FD6C-1241-8CA3-4B9929CF0049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6C66"/>
    </a:accent1>
    <a:accent2>
      <a:srgbClr val="40FFFF"/>
    </a:accent2>
    <a:accent3>
      <a:srgbClr val="384452"/>
    </a:accent3>
    <a:accent4>
      <a:srgbClr val="629BB6"/>
    </a:accent4>
    <a:accent5>
      <a:srgbClr val="C65464"/>
    </a:accent5>
    <a:accent6>
      <a:srgbClr val="E4FFFF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6C66"/>
    </a:accent1>
    <a:accent2>
      <a:srgbClr val="40FFFF"/>
    </a:accent2>
    <a:accent3>
      <a:srgbClr val="384452"/>
    </a:accent3>
    <a:accent4>
      <a:srgbClr val="629BB6"/>
    </a:accent4>
    <a:accent5>
      <a:srgbClr val="C65464"/>
    </a:accent5>
    <a:accent6>
      <a:srgbClr val="E4FFFF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6C66"/>
    </a:accent1>
    <a:accent2>
      <a:srgbClr val="40FFFF"/>
    </a:accent2>
    <a:accent3>
      <a:srgbClr val="384452"/>
    </a:accent3>
    <a:accent4>
      <a:srgbClr val="629BB6"/>
    </a:accent4>
    <a:accent5>
      <a:srgbClr val="C65464"/>
    </a:accent5>
    <a:accent6>
      <a:srgbClr val="E4FFFF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6C66"/>
    </a:accent1>
    <a:accent2>
      <a:srgbClr val="40FFFF"/>
    </a:accent2>
    <a:accent3>
      <a:srgbClr val="384452"/>
    </a:accent3>
    <a:accent4>
      <a:srgbClr val="629BB6"/>
    </a:accent4>
    <a:accent5>
      <a:srgbClr val="C65464"/>
    </a:accent5>
    <a:accent6>
      <a:srgbClr val="E4FFFF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主题5</Template>
  <TotalTime>0</TotalTime>
  <Words>1056</Words>
  <Application>Microsoft Macintosh PowerPoint</Application>
  <PresentationFormat>宽屏</PresentationFormat>
  <Paragraphs>95</Paragraphs>
  <Slides>8</Slides>
  <Notes>3</Notes>
  <HiddenSlides>3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4" baseType="lpstr">
      <vt:lpstr>等线</vt:lpstr>
      <vt:lpstr>Arial</vt:lpstr>
      <vt:lpstr>Calibri</vt:lpstr>
      <vt:lpstr>Impact</vt:lpstr>
      <vt:lpstr>主题5</vt:lpstr>
      <vt:lpstr>think-cell Slide</vt:lpstr>
      <vt:lpstr>ISLIDE® POWERPOINT  STANDARD TEMPLATE</vt:lpstr>
      <vt:lpstr>PowerPoint 演示文稿</vt:lpstr>
      <vt:lpstr>Section Header Here</vt:lpstr>
      <vt:lpstr>Use "Title Only" Layout</vt:lpstr>
      <vt:lpstr>Thanks AND YOUR SLOGAN HERE</vt:lpstr>
      <vt:lpstr>PowerPoint 演示文稿</vt:lpstr>
      <vt:lpstr>快速设计页面  Quick design slides</vt:lpstr>
      <vt:lpstr>PowerPoint 演示文稿</vt:lpstr>
    </vt:vector>
  </TitlesOfParts>
  <Manager>iSlide</Manager>
  <Company/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LIDE® POWERPOINT  STANDARD TEMPLATE</dc:title>
  <dc:creator>Microsoft Office User</dc:creator>
  <cp:lastModifiedBy>Microsoft Office User</cp:lastModifiedBy>
  <cp:revision>1</cp:revision>
  <cp:lastPrinted>2019-07-31T16:00:00Z</cp:lastPrinted>
  <dcterms:created xsi:type="dcterms:W3CDTF">2020-06-07T08:40:18Z</dcterms:created>
  <dcterms:modified xsi:type="dcterms:W3CDTF">2020-06-07T08:4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